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notesSlides/notesSlide1.xml" ContentType="application/vnd.openxmlformats-officedocument.presentationml.notesSlide+xml"/>
  <Override PartName="/ppt/tags/tag20.xml" ContentType="application/vnd.openxmlformats-officedocument.presentationml.tags+xml"/>
  <Override PartName="/ppt/notesSlides/notesSlide2.xml" ContentType="application/vnd.openxmlformats-officedocument.presentationml.notesSlide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ppt/tags/tag22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3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5.xml" ContentType="application/vnd.openxmlformats-officedocument.presentationml.tags+xml"/>
  <Override PartName="/ppt/notesSlides/notesSlide8.xml" ContentType="application/vnd.openxmlformats-officedocument.presentationml.notesSlide+xml"/>
  <Override PartName="/ppt/tags/tag26.xml" ContentType="application/vnd.openxmlformats-officedocument.presentationml.tags+xml"/>
  <Override PartName="/ppt/notesSlides/notesSlide9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0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1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2.xml" ContentType="application/vnd.openxmlformats-officedocument.presentationml.notesSlide+xml"/>
  <Override PartName="/ppt/tags/tag49.xml" ContentType="application/vnd.openxmlformats-officedocument.presentationml.tags+xml"/>
  <Override PartName="/ppt/notesSlides/notesSlide13.xml" ContentType="application/vnd.openxmlformats-officedocument.presentationml.notesSlide+xml"/>
  <Override PartName="/ppt/tags/tag50.xml" ContentType="application/vnd.openxmlformats-officedocument.presentationml.tags+xml"/>
  <Override PartName="/ppt/notesSlides/notesSlide14.xml" ContentType="application/vnd.openxmlformats-officedocument.presentationml.notesSlide+xml"/>
  <Override PartName="/ppt/tags/tag51.xml" ContentType="application/vnd.openxmlformats-officedocument.presentationml.tags+xml"/>
  <Override PartName="/ppt/notesSlides/notesSlide15.xml" ContentType="application/vnd.openxmlformats-officedocument.presentationml.notesSlide+xml"/>
  <Override PartName="/ppt/tags/tag52.xml" ContentType="application/vnd.openxmlformats-officedocument.presentationml.tags+xml"/>
  <Override PartName="/ppt/notesSlides/notesSlide16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17.xml" ContentType="application/vnd.openxmlformats-officedocument.presentationml.notesSlide+xml"/>
  <Override PartName="/ppt/tags/tag57.xml" ContentType="application/vnd.openxmlformats-officedocument.presentationml.tags+xml"/>
  <Override PartName="/ppt/notesSlides/notesSlide18.xml" ContentType="application/vnd.openxmlformats-officedocument.presentationml.notesSlide+xml"/>
  <Override PartName="/ppt/tags/tag58.xml" ContentType="application/vnd.openxmlformats-officedocument.presentationml.tags+xml"/>
  <Override PartName="/ppt/notesSlides/notesSlide19.xml" ContentType="application/vnd.openxmlformats-officedocument.presentationml.notesSlide+xml"/>
  <Override PartName="/ppt/tags/tag59.xml" ContentType="application/vnd.openxmlformats-officedocument.presentationml.tags+xml"/>
  <Override PartName="/ppt/notesSlides/notesSlide2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>
  <p:sldMasterIdLst>
    <p:sldMasterId id="2147483648" r:id="rId4"/>
  </p:sldMasterIdLst>
  <p:notesMasterIdLst>
    <p:notesMasterId r:id="rId32"/>
  </p:notesMasterIdLst>
  <p:handoutMasterIdLst>
    <p:handoutMasterId r:id="rId33"/>
  </p:handoutMasterIdLst>
  <p:sldIdLst>
    <p:sldId id="425" r:id="rId5"/>
    <p:sldId id="402" r:id="rId6"/>
    <p:sldId id="683" r:id="rId7"/>
    <p:sldId id="334" r:id="rId8"/>
    <p:sldId id="426" r:id="rId9"/>
    <p:sldId id="439" r:id="rId10"/>
    <p:sldId id="434" r:id="rId11"/>
    <p:sldId id="428" r:id="rId12"/>
    <p:sldId id="676" r:id="rId13"/>
    <p:sldId id="678" r:id="rId14"/>
    <p:sldId id="681" r:id="rId15"/>
    <p:sldId id="682" r:id="rId16"/>
    <p:sldId id="656" r:id="rId17"/>
    <p:sldId id="427" r:id="rId18"/>
    <p:sldId id="440" r:id="rId19"/>
    <p:sldId id="430" r:id="rId20"/>
    <p:sldId id="429" r:id="rId21"/>
    <p:sldId id="657" r:id="rId22"/>
    <p:sldId id="658" r:id="rId23"/>
    <p:sldId id="684" r:id="rId24"/>
    <p:sldId id="685" r:id="rId25"/>
    <p:sldId id="686" r:id="rId26"/>
    <p:sldId id="431" r:id="rId27"/>
    <p:sldId id="689" r:id="rId28"/>
    <p:sldId id="687" r:id="rId29"/>
    <p:sldId id="688" r:id="rId30"/>
    <p:sldId id="413" r:id="rId31"/>
  </p:sldIdLst>
  <p:sldSz cx="12192000" cy="6858000"/>
  <p:notesSz cx="6858000" cy="9144000"/>
  <p:custDataLst>
    <p:tags r:id="rId34"/>
  </p:custDataLst>
  <p:defaultTextStyle>
    <a:defPPr marL="0" marR="0" indent="0" algn="l" defTabSz="4572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9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1pPr>
    <a:lvl2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2pPr>
    <a:lvl3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3pPr>
    <a:lvl4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4pPr>
    <a:lvl5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5pPr>
    <a:lvl6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6pPr>
    <a:lvl7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7pPr>
    <a:lvl8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8pPr>
    <a:lvl9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9pPr>
  </p:defaultTextStyle>
  <p:extLst>
    <p:ext uri="{EFAFB233-063F-42B5-8137-9DF3F51BA10A}">
      <p15:sldGuideLst xmlns:p15="http://schemas.microsoft.com/office/powerpoint/2012/main">
        <p15:guide id="2" orient="horz" pos="2183" userDrawn="1">
          <p15:clr>
            <a:srgbClr val="A4A3A4"/>
          </p15:clr>
        </p15:guide>
        <p15:guide id="3" pos="4543" userDrawn="1">
          <p15:clr>
            <a:srgbClr val="A4A3A4"/>
          </p15:clr>
        </p15:guide>
        <p15:guide id="4" pos="5586" userDrawn="1">
          <p15:clr>
            <a:srgbClr val="A4A3A4"/>
          </p15:clr>
        </p15:guide>
        <p15:guide id="5" pos="209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rancisco López" initials="FL" lastIdx="1" clrIdx="0">
    <p:extLst>
      <p:ext uri="{19B8F6BF-5375-455C-9EA6-DF929625EA0E}">
        <p15:presenceInfo xmlns:p15="http://schemas.microsoft.com/office/powerpoint/2012/main" userId="c583e4eeb9a72cae" providerId="Windows Live"/>
      </p:ext>
    </p:extLst>
  </p:cmAuthor>
  <p:cmAuthor id="2" name="Labus Seric, Aneta" initials="LSA" lastIdx="13" clrIdx="1">
    <p:extLst>
      <p:ext uri="{19B8F6BF-5375-455C-9EA6-DF929625EA0E}">
        <p15:presenceInfo xmlns:p15="http://schemas.microsoft.com/office/powerpoint/2012/main" userId="S::alabuss@achs.cl::3e6a394c-38a0-4673-baac-c345465d03a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16161"/>
    <a:srgbClr val="106737"/>
    <a:srgbClr val="004F59"/>
    <a:srgbClr val="5F5F5F"/>
    <a:srgbClr val="8A8A8A"/>
    <a:srgbClr val="C98539"/>
    <a:srgbClr val="F2E500"/>
    <a:srgbClr val="ECC3B2"/>
    <a:srgbClr val="578D86"/>
    <a:srgbClr val="9D49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8978FC3-3F92-4B0B-A567-2B40060237BA}" v="1108" dt="2022-05-03T20:25:42.429"/>
  </p1510:revLst>
</p1510:revInfo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381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381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381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12700" cap="flat">
              <a:solidFill>
                <a:srgbClr val="536773"/>
              </a:solidFill>
              <a:prstDash val="solid"/>
              <a:miter lim="400000"/>
            </a:ln>
          </a:top>
          <a:bottom>
            <a:ln w="12700" cap="flat">
              <a:solidFill>
                <a:srgbClr val="536773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536773"/>
              </a:solidFill>
              <a:prstDash val="solid"/>
              <a:miter lim="400000"/>
            </a:ln>
          </a:top>
          <a:bottom>
            <a:ln w="12700" cap="flat">
              <a:solidFill>
                <a:srgbClr val="536773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381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solidFill>
            <a:schemeClr val="accent1">
              <a:lumOff val="16847"/>
            </a:schemeClr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838383"/>
              </a:solidFill>
              <a:prstDash val="solid"/>
              <a:miter lim="400000"/>
            </a:ln>
          </a:left>
          <a:right>
            <a:ln w="12700" cap="flat">
              <a:solidFill>
                <a:srgbClr val="838383"/>
              </a:solidFill>
              <a:prstDash val="solid"/>
              <a:miter lim="400000"/>
            </a:ln>
          </a:right>
          <a:top>
            <a:ln w="12700" cap="flat">
              <a:solidFill>
                <a:srgbClr val="838383"/>
              </a:solidFill>
              <a:prstDash val="solid"/>
              <a:miter lim="400000"/>
            </a:ln>
          </a:top>
          <a:bottom>
            <a:ln w="12700" cap="flat">
              <a:solidFill>
                <a:srgbClr val="838383"/>
              </a:solidFill>
              <a:prstDash val="solid"/>
              <a:miter lim="400000"/>
            </a:ln>
          </a:bottom>
          <a:insideH>
            <a:ln w="12700" cap="flat">
              <a:solidFill>
                <a:srgbClr val="838383"/>
              </a:solidFill>
              <a:prstDash val="solid"/>
              <a:miter lim="400000"/>
            </a:ln>
          </a:insideH>
          <a:insideV>
            <a:ln w="12700" cap="flat">
              <a:solidFill>
                <a:srgbClr val="838383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4D4D4D"/>
              </a:solidFill>
              <a:prstDash val="solid"/>
              <a:miter lim="400000"/>
            </a:ln>
          </a:left>
          <a:right>
            <a:ln w="12700" cap="flat">
              <a:solidFill>
                <a:srgbClr val="808080"/>
              </a:solidFill>
              <a:prstDash val="solid"/>
              <a:miter lim="400000"/>
            </a:ln>
          </a:right>
          <a:top>
            <a:ln w="12700" cap="flat">
              <a:solidFill>
                <a:srgbClr val="808080"/>
              </a:solidFill>
              <a:prstDash val="solid"/>
              <a:miter lim="400000"/>
            </a:ln>
          </a:top>
          <a:bottom>
            <a:ln w="12700" cap="flat">
              <a:solidFill>
                <a:srgbClr val="808080"/>
              </a:solidFill>
              <a:prstDash val="solid"/>
              <a:miter lim="400000"/>
            </a:ln>
          </a:bottom>
          <a:insideH>
            <a:ln w="12700" cap="flat">
              <a:solidFill>
                <a:srgbClr val="808080"/>
              </a:solidFill>
              <a:prstDash val="solid"/>
              <a:miter lim="400000"/>
            </a:ln>
          </a:insideH>
          <a:insideV>
            <a:ln w="12700" cap="flat">
              <a:solidFill>
                <a:srgbClr val="808080"/>
              </a:solidFill>
              <a:prstDash val="solid"/>
              <a:miter lim="400000"/>
            </a:ln>
          </a:insideV>
        </a:tcBdr>
        <a:fill>
          <a:solidFill>
            <a:srgbClr val="88FA4F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38100" cap="flat">
              <a:solidFill>
                <a:schemeClr val="accent3"/>
              </a:solidFill>
              <a:prstDash val="solid"/>
              <a:miter lim="400000"/>
            </a:ln>
          </a:top>
          <a:bottom>
            <a:ln w="12700" cap="flat">
              <a:solidFill>
                <a:srgbClr val="4D4D4D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4D4D4D"/>
              </a:solidFill>
              <a:prstDash val="solid"/>
              <a:miter lim="400000"/>
            </a:ln>
          </a:left>
          <a:right>
            <a:ln w="12700" cap="flat">
              <a:solidFill>
                <a:srgbClr val="4D4D4D"/>
              </a:solidFill>
              <a:prstDash val="solid"/>
              <a:miter lim="400000"/>
            </a:ln>
          </a:right>
          <a:top>
            <a:ln w="12700" cap="flat">
              <a:solidFill>
                <a:srgbClr val="4D4D4D"/>
              </a:solidFill>
              <a:prstDash val="solid"/>
              <a:miter lim="400000"/>
            </a:ln>
          </a:top>
          <a:bottom>
            <a:ln w="12700" cap="flat">
              <a:solidFill>
                <a:srgbClr val="4D4D4D"/>
              </a:solidFill>
              <a:prstDash val="solid"/>
              <a:miter lim="400000"/>
            </a:ln>
          </a:bottom>
          <a:insideH>
            <a:ln w="12700" cap="flat">
              <a:solidFill>
                <a:srgbClr val="4D4D4D"/>
              </a:solidFill>
              <a:prstDash val="solid"/>
              <a:miter lim="400000"/>
            </a:ln>
          </a:insideH>
          <a:insideV>
            <a:ln w="12700" cap="flat">
              <a:solidFill>
                <a:srgbClr val="4D4D4D"/>
              </a:solidFill>
              <a:prstDash val="solid"/>
              <a:miter lim="400000"/>
            </a:ln>
          </a:insideV>
        </a:tcBdr>
        <a:fill>
          <a:solidFill>
            <a:srgbClr val="60D937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AF7E9"/>
          </a:solidFill>
        </a:fill>
      </a:tcStyle>
    </a:wholeTbl>
    <a:band2H>
      <a:tcTxStyle/>
      <a:tcStyle>
        <a:tcBdr/>
        <a:fill>
          <a:solidFill>
            <a:schemeClr val="accent4">
              <a:hueOff val="348544"/>
              <a:lumOff val="7139"/>
            </a:schemeClr>
          </a:solidFill>
        </a:fill>
      </a:tcStyle>
    </a:band2H>
    <a:firstCol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8BB00"/>
          </a:solidFill>
        </a:fill>
      </a:tcStyle>
    </a:firstCol>
    <a:la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38100" cap="flat">
              <a:solidFill>
                <a:srgbClr val="F8BA00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AF7E9"/>
          </a:solidFill>
        </a:fill>
      </a:tcStyle>
    </a:lastRow>
    <a:fir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464646"/>
              </a:solidFill>
              <a:prstDash val="solid"/>
              <a:miter lim="400000"/>
            </a:ln>
          </a:left>
          <a:right>
            <a:ln w="12700" cap="flat">
              <a:solidFill>
                <a:srgbClr val="464646"/>
              </a:solidFill>
              <a:prstDash val="solid"/>
              <a:miter lim="400000"/>
            </a:ln>
          </a:right>
          <a:top>
            <a:ln w="12700" cap="flat">
              <a:solidFill>
                <a:srgbClr val="464646"/>
              </a:solidFill>
              <a:prstDash val="solid"/>
              <a:miter lim="400000"/>
            </a:ln>
          </a:top>
          <a:bottom>
            <a:ln w="12700" cap="flat">
              <a:solidFill>
                <a:srgbClr val="464646"/>
              </a:solidFill>
              <a:prstDash val="solid"/>
              <a:miter lim="400000"/>
            </a:ln>
          </a:bottom>
          <a:insideH>
            <a:ln w="12700" cap="flat">
              <a:solidFill>
                <a:srgbClr val="464646"/>
              </a:solidFill>
              <a:prstDash val="solid"/>
              <a:miter lim="400000"/>
            </a:ln>
          </a:insideH>
          <a:insideV>
            <a:ln w="12700" cap="flat">
              <a:solidFill>
                <a:srgbClr val="464646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D4D5D5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E5E5E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C3C3C3"/>
              </a:solidFill>
              <a:prstDash val="solid"/>
              <a:miter lim="400000"/>
            </a:ln>
          </a:top>
          <a:bottom>
            <a:ln w="12700" cap="flat">
              <a:solidFill>
                <a:srgbClr val="C3C3C3"/>
              </a:solidFill>
              <a:prstDash val="solid"/>
              <a:miter lim="400000"/>
            </a:ln>
          </a:bottom>
          <a:insideH>
            <a:ln w="12700" cap="flat">
              <a:solidFill>
                <a:srgbClr val="C3C3C3"/>
              </a:solidFill>
              <a:prstDash val="solid"/>
              <a:miter lim="400000"/>
            </a:ln>
          </a:insideH>
          <a:insideV>
            <a:ln w="12700" cap="flat">
              <a:solidFill>
                <a:srgbClr val="C3C3C3"/>
              </a:solidFill>
              <a:prstDash val="solid"/>
              <a:miter lim="400000"/>
            </a:ln>
          </a:insideV>
        </a:tcBdr>
        <a:fill>
          <a:solidFill>
            <a:srgbClr val="CB2A7B"/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E5E5E"/>
              </a:solidFill>
              <a:prstDash val="solid"/>
              <a:miter lim="400000"/>
            </a:ln>
          </a:left>
          <a:right>
            <a:ln w="12700" cap="flat">
              <a:solidFill>
                <a:srgbClr val="5E5E5E"/>
              </a:solidFill>
              <a:prstDash val="solid"/>
              <a:miter lim="400000"/>
            </a:ln>
          </a:right>
          <a:top>
            <a:ln w="38100" cap="flat">
              <a:solidFill>
                <a:srgbClr val="CB297B"/>
              </a:solidFill>
              <a:prstDash val="solid"/>
              <a:miter lim="400000"/>
            </a:ln>
          </a:top>
          <a:bottom>
            <a:ln w="12700" cap="flat">
              <a:solidFill>
                <a:srgbClr val="5E5E5E"/>
              </a:solidFill>
              <a:prstDash val="solid"/>
              <a:miter lim="400000"/>
            </a:ln>
          </a:bottom>
          <a:insideH>
            <a:ln w="12700" cap="flat">
              <a:solidFill>
                <a:srgbClr val="5E5E5E"/>
              </a:solidFill>
              <a:prstDash val="solid"/>
              <a:miter lim="400000"/>
            </a:ln>
          </a:insideH>
          <a:insideV>
            <a:ln w="12700" cap="flat">
              <a:solidFill>
                <a:srgbClr val="5E5E5E"/>
              </a:solidFill>
              <a:prstDash val="solid"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5E5E5E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991A5F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6C6C6C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6C6C6C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6C6C6C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D6DCE0"/>
          </a:solidFill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0523"/>
    <p:restoredTop sz="94663"/>
  </p:normalViewPr>
  <p:slideViewPr>
    <p:cSldViewPr snapToGrid="0" snapToObjects="1" showGuides="1">
      <p:cViewPr varScale="1">
        <p:scale>
          <a:sx n="48" d="100"/>
          <a:sy n="48" d="100"/>
        </p:scale>
        <p:origin x="1056" y="27"/>
      </p:cViewPr>
      <p:guideLst>
        <p:guide orient="horz" pos="2183"/>
        <p:guide pos="4543"/>
        <p:guide pos="5586"/>
        <p:guide pos="209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97" d="100"/>
          <a:sy n="97" d="100"/>
        </p:scale>
        <p:origin x="4328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bleStyles" Target="tableStyles.xml"/><Relationship Id="rId21" Type="http://schemas.openxmlformats.org/officeDocument/2006/relationships/slide" Target="slides/slide17.xml"/><Relationship Id="rId34" Type="http://schemas.openxmlformats.org/officeDocument/2006/relationships/tags" Target="tags/tag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viewProps" Target="viewProps.xml"/><Relationship Id="rId40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commentAuthors" Target="commentAuthor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handoutMaster" Target="handoutMasters/handoutMaster1.xml"/><Relationship Id="rId38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into Retamal, Rodrigo Enrique" userId="09b922dc-e301-4f7a-90fe-e924f95e94b9" providerId="ADAL" clId="{F8978FC3-3F92-4B0B-A567-2B40060237BA}"/>
    <pc:docChg chg="custSel addSld delSld modSld">
      <pc:chgData name="Pinto Retamal, Rodrigo Enrique" userId="09b922dc-e301-4f7a-90fe-e924f95e94b9" providerId="ADAL" clId="{F8978FC3-3F92-4B0B-A567-2B40060237BA}" dt="2022-05-23T13:57:54.092" v="220" actId="47"/>
      <pc:docMkLst>
        <pc:docMk/>
      </pc:docMkLst>
      <pc:sldChg chg="addSp delSp modSp add del mod">
        <pc:chgData name="Pinto Retamal, Rodrigo Enrique" userId="09b922dc-e301-4f7a-90fe-e924f95e94b9" providerId="ADAL" clId="{F8978FC3-3F92-4B0B-A567-2B40060237BA}" dt="2022-05-23T13:57:54.092" v="220" actId="47"/>
        <pc:sldMkLst>
          <pc:docMk/>
          <pc:sldMk cId="2635848757" sldId="690"/>
        </pc:sldMkLst>
        <pc:spChg chg="del">
          <ac:chgData name="Pinto Retamal, Rodrigo Enrique" userId="09b922dc-e301-4f7a-90fe-e924f95e94b9" providerId="ADAL" clId="{F8978FC3-3F92-4B0B-A567-2B40060237BA}" dt="2022-05-03T15:49:53.002" v="1" actId="478"/>
          <ac:spMkLst>
            <pc:docMk/>
            <pc:sldMk cId="2635848757" sldId="690"/>
            <ac:spMk id="3" creationId="{B66A9C12-4F7B-4232-9B92-87BC7EBB9486}"/>
          </ac:spMkLst>
        </pc:spChg>
        <pc:spChg chg="mod">
          <ac:chgData name="Pinto Retamal, Rodrigo Enrique" userId="09b922dc-e301-4f7a-90fe-e924f95e94b9" providerId="ADAL" clId="{F8978FC3-3F92-4B0B-A567-2B40060237BA}" dt="2022-05-03T20:25:36.644" v="219" actId="1076"/>
          <ac:spMkLst>
            <pc:docMk/>
            <pc:sldMk cId="2635848757" sldId="690"/>
            <ac:spMk id="10" creationId="{188F7E02-E3B0-E243-B6C7-271683C98156}"/>
          </ac:spMkLst>
        </pc:spChg>
        <pc:spChg chg="mod">
          <ac:chgData name="Pinto Retamal, Rodrigo Enrique" userId="09b922dc-e301-4f7a-90fe-e924f95e94b9" providerId="ADAL" clId="{F8978FC3-3F92-4B0B-A567-2B40060237BA}" dt="2022-05-03T15:50:17.158" v="54" actId="20577"/>
          <ac:spMkLst>
            <pc:docMk/>
            <pc:sldMk cId="2635848757" sldId="690"/>
            <ac:spMk id="24" creationId="{42B9B605-B12F-6147-BFF4-BCAF18B25A68}"/>
          </ac:spMkLst>
        </pc:spChg>
        <pc:spChg chg="mod">
          <ac:chgData name="Pinto Retamal, Rodrigo Enrique" userId="09b922dc-e301-4f7a-90fe-e924f95e94b9" providerId="ADAL" clId="{F8978FC3-3F92-4B0B-A567-2B40060237BA}" dt="2022-05-03T20:25:31.708" v="218" actId="1076"/>
          <ac:spMkLst>
            <pc:docMk/>
            <pc:sldMk cId="2635848757" sldId="690"/>
            <ac:spMk id="25" creationId="{895E7C57-E423-7444-A1F9-CACBB7D8C0FB}"/>
          </ac:spMkLst>
        </pc:spChg>
        <pc:picChg chg="add mod modCrop">
          <ac:chgData name="Pinto Retamal, Rodrigo Enrique" userId="09b922dc-e301-4f7a-90fe-e924f95e94b9" providerId="ADAL" clId="{F8978FC3-3F92-4B0B-A567-2B40060237BA}" dt="2022-05-03T20:22:39.148" v="83" actId="1076"/>
          <ac:picMkLst>
            <pc:docMk/>
            <pc:sldMk cId="2635848757" sldId="690"/>
            <ac:picMk id="5" creationId="{CBB749E7-A8B7-4CAE-BC32-519A458A62D4}"/>
          </ac:picMkLst>
        </pc:picChg>
        <pc:picChg chg="del">
          <ac:chgData name="Pinto Retamal, Rodrigo Enrique" userId="09b922dc-e301-4f7a-90fe-e924f95e94b9" providerId="ADAL" clId="{F8978FC3-3F92-4B0B-A567-2B40060237BA}" dt="2022-05-03T15:49:54.727" v="3" actId="478"/>
          <ac:picMkLst>
            <pc:docMk/>
            <pc:sldMk cId="2635848757" sldId="690"/>
            <ac:picMk id="7" creationId="{C9CB797B-6231-4F9D-9826-676A43E788A0}"/>
          </ac:picMkLst>
        </pc:picChg>
        <pc:picChg chg="del">
          <ac:chgData name="Pinto Retamal, Rodrigo Enrique" userId="09b922dc-e301-4f7a-90fe-e924f95e94b9" providerId="ADAL" clId="{F8978FC3-3F92-4B0B-A567-2B40060237BA}" dt="2022-05-03T15:49:53.947" v="2" actId="478"/>
          <ac:picMkLst>
            <pc:docMk/>
            <pc:sldMk cId="2635848757" sldId="690"/>
            <ac:picMk id="8" creationId="{3E1EF432-F9E4-416C-85AD-EA2765D6754E}"/>
          </ac:picMkLst>
        </pc:picChg>
        <pc:picChg chg="del">
          <ac:chgData name="Pinto Retamal, Rodrigo Enrique" userId="09b922dc-e301-4f7a-90fe-e924f95e94b9" providerId="ADAL" clId="{F8978FC3-3F92-4B0B-A567-2B40060237BA}" dt="2022-05-03T15:49:55.377" v="4" actId="478"/>
          <ac:picMkLst>
            <pc:docMk/>
            <pc:sldMk cId="2635848757" sldId="690"/>
            <ac:picMk id="19461" creationId="{B0DBB5B9-AFC6-45C6-BDBD-218653036439}"/>
          </ac:picMkLst>
        </pc:picChg>
      </pc:sldChg>
    </pc:docChg>
  </pc:docChgLst>
  <pc:docChgLst>
    <pc:chgData name="Pinto Retamal, Rodrigo Enrique" userId="09b922dc-e301-4f7a-90fe-e924f95e94b9" providerId="ADAL" clId="{BF5E7D9C-31B2-49F1-9410-2E1211D9475B}"/>
    <pc:docChg chg="modSld">
      <pc:chgData name="Pinto Retamal, Rodrigo Enrique" userId="09b922dc-e301-4f7a-90fe-e924f95e94b9" providerId="ADAL" clId="{BF5E7D9C-31B2-49F1-9410-2E1211D9475B}" dt="2022-03-16T14:21:19.118" v="65" actId="20577"/>
      <pc:docMkLst>
        <pc:docMk/>
      </pc:docMkLst>
      <pc:sldChg chg="modSp">
        <pc:chgData name="Pinto Retamal, Rodrigo Enrique" userId="09b922dc-e301-4f7a-90fe-e924f95e94b9" providerId="ADAL" clId="{BF5E7D9C-31B2-49F1-9410-2E1211D9475B}" dt="2022-03-16T14:21:19.118" v="65" actId="20577"/>
        <pc:sldMkLst>
          <pc:docMk/>
          <pc:sldMk cId="270397944" sldId="684"/>
        </pc:sldMkLst>
        <pc:spChg chg="mod">
          <ac:chgData name="Pinto Retamal, Rodrigo Enrique" userId="09b922dc-e301-4f7a-90fe-e924f95e94b9" providerId="ADAL" clId="{BF5E7D9C-31B2-49F1-9410-2E1211D9475B}" dt="2022-03-16T14:21:19.118" v="65" actId="20577"/>
          <ac:spMkLst>
            <pc:docMk/>
            <pc:sldMk cId="270397944" sldId="684"/>
            <ac:spMk id="31" creationId="{D582E45B-CA61-4E36-9E76-29279D65EF54}"/>
          </ac:spMkLst>
        </pc:spChg>
      </pc:sldChg>
    </pc:docChg>
  </pc:docChgLst>
  <pc:docChgLst>
    <pc:chgData name="Pinto Retamal, Rodrigo Enrique" userId="09b922dc-e301-4f7a-90fe-e924f95e94b9" providerId="ADAL" clId="{AAD99E02-1FAF-434B-BD74-F81CF4188FB5}"/>
    <pc:docChg chg="custSel addSld delSld modSld sldOrd">
      <pc:chgData name="Pinto Retamal, Rodrigo Enrique" userId="09b922dc-e301-4f7a-90fe-e924f95e94b9" providerId="ADAL" clId="{AAD99E02-1FAF-434B-BD74-F81CF4188FB5}" dt="2021-05-04T20:08:12.025" v="4614" actId="2696"/>
      <pc:docMkLst>
        <pc:docMk/>
      </pc:docMkLst>
      <pc:sldChg chg="addSp modSp">
        <pc:chgData name="Pinto Retamal, Rodrigo Enrique" userId="09b922dc-e301-4f7a-90fe-e924f95e94b9" providerId="ADAL" clId="{AAD99E02-1FAF-434B-BD74-F81CF4188FB5}" dt="2021-05-03T15:44:40.423" v="234" actId="1076"/>
        <pc:sldMkLst>
          <pc:docMk/>
          <pc:sldMk cId="1564062549" sldId="334"/>
        </pc:sldMkLst>
        <pc:spChg chg="add mod">
          <ac:chgData name="Pinto Retamal, Rodrigo Enrique" userId="09b922dc-e301-4f7a-90fe-e924f95e94b9" providerId="ADAL" clId="{AAD99E02-1FAF-434B-BD74-F81CF4188FB5}" dt="2021-05-03T15:44:40.423" v="234" actId="1076"/>
          <ac:spMkLst>
            <pc:docMk/>
            <pc:sldMk cId="1564062549" sldId="334"/>
            <ac:spMk id="3" creationId="{B66A9C12-4F7B-4232-9B92-87BC7EBB9486}"/>
          </ac:spMkLst>
        </pc:spChg>
        <pc:spChg chg="mod">
          <ac:chgData name="Pinto Retamal, Rodrigo Enrique" userId="09b922dc-e301-4f7a-90fe-e924f95e94b9" providerId="ADAL" clId="{AAD99E02-1FAF-434B-BD74-F81CF4188FB5}" dt="2021-05-03T15:41:59.240" v="39" actId="1076"/>
          <ac:spMkLst>
            <pc:docMk/>
            <pc:sldMk cId="1564062549" sldId="334"/>
            <ac:spMk id="10" creationId="{188F7E02-E3B0-E243-B6C7-271683C98156}"/>
          </ac:spMkLst>
        </pc:spChg>
        <pc:picChg chg="mod">
          <ac:chgData name="Pinto Retamal, Rodrigo Enrique" userId="09b922dc-e301-4f7a-90fe-e924f95e94b9" providerId="ADAL" clId="{AAD99E02-1FAF-434B-BD74-F81CF4188FB5}" dt="2021-05-03T15:42:03.574" v="41" actId="1076"/>
          <ac:picMkLst>
            <pc:docMk/>
            <pc:sldMk cId="1564062549" sldId="334"/>
            <ac:picMk id="7" creationId="{C9CB797B-6231-4F9D-9826-676A43E788A0}"/>
          </ac:picMkLst>
        </pc:picChg>
        <pc:picChg chg="mod">
          <ac:chgData name="Pinto Retamal, Rodrigo Enrique" userId="09b922dc-e301-4f7a-90fe-e924f95e94b9" providerId="ADAL" clId="{AAD99E02-1FAF-434B-BD74-F81CF4188FB5}" dt="2021-05-03T15:42:01.622" v="40" actId="1076"/>
          <ac:picMkLst>
            <pc:docMk/>
            <pc:sldMk cId="1564062549" sldId="334"/>
            <ac:picMk id="8" creationId="{3E1EF432-F9E4-416C-85AD-EA2765D6754E}"/>
          </ac:picMkLst>
        </pc:picChg>
        <pc:picChg chg="mod">
          <ac:chgData name="Pinto Retamal, Rodrigo Enrique" userId="09b922dc-e301-4f7a-90fe-e924f95e94b9" providerId="ADAL" clId="{AAD99E02-1FAF-434B-BD74-F81CF4188FB5}" dt="2021-05-03T15:42:05.510" v="42" actId="1076"/>
          <ac:picMkLst>
            <pc:docMk/>
            <pc:sldMk cId="1564062549" sldId="334"/>
            <ac:picMk id="19461" creationId="{B0DBB5B9-AFC6-45C6-BDBD-218653036439}"/>
          </ac:picMkLst>
        </pc:picChg>
      </pc:sldChg>
      <pc:sldChg chg="delSp add del modAnim">
        <pc:chgData name="Pinto Retamal, Rodrigo Enrique" userId="09b922dc-e301-4f7a-90fe-e924f95e94b9" providerId="ADAL" clId="{AAD99E02-1FAF-434B-BD74-F81CF4188FB5}" dt="2021-05-04T15:18:26.675" v="1781" actId="2696"/>
        <pc:sldMkLst>
          <pc:docMk/>
          <pc:sldMk cId="2685841790" sldId="335"/>
        </pc:sldMkLst>
        <pc:spChg chg="del">
          <ac:chgData name="Pinto Retamal, Rodrigo Enrique" userId="09b922dc-e301-4f7a-90fe-e924f95e94b9" providerId="ADAL" clId="{AAD99E02-1FAF-434B-BD74-F81CF4188FB5}" dt="2021-05-03T21:19:13.622" v="1519"/>
          <ac:spMkLst>
            <pc:docMk/>
            <pc:sldMk cId="2685841790" sldId="335"/>
            <ac:spMk id="13" creationId="{00000000-0000-0000-0000-000000000000}"/>
          </ac:spMkLst>
        </pc:spChg>
        <pc:spChg chg="del">
          <ac:chgData name="Pinto Retamal, Rodrigo Enrique" userId="09b922dc-e301-4f7a-90fe-e924f95e94b9" providerId="ADAL" clId="{AAD99E02-1FAF-434B-BD74-F81CF4188FB5}" dt="2021-05-03T21:19:13.622" v="1519"/>
          <ac:spMkLst>
            <pc:docMk/>
            <pc:sldMk cId="2685841790" sldId="335"/>
            <ac:spMk id="20" creationId="{DD04EB09-E70D-294E-9E41-66B88B814360}"/>
          </ac:spMkLst>
        </pc:spChg>
        <pc:spChg chg="del">
          <ac:chgData name="Pinto Retamal, Rodrigo Enrique" userId="09b922dc-e301-4f7a-90fe-e924f95e94b9" providerId="ADAL" clId="{AAD99E02-1FAF-434B-BD74-F81CF4188FB5}" dt="2021-05-03T21:19:13.622" v="1519"/>
          <ac:spMkLst>
            <pc:docMk/>
            <pc:sldMk cId="2685841790" sldId="335"/>
            <ac:spMk id="24" creationId="{CCD07849-A499-FA4F-A80A-C567656E0619}"/>
          </ac:spMkLst>
        </pc:spChg>
        <pc:spChg chg="del">
          <ac:chgData name="Pinto Retamal, Rodrigo Enrique" userId="09b922dc-e301-4f7a-90fe-e924f95e94b9" providerId="ADAL" clId="{AAD99E02-1FAF-434B-BD74-F81CF4188FB5}" dt="2021-05-03T21:19:13.622" v="1519"/>
          <ac:spMkLst>
            <pc:docMk/>
            <pc:sldMk cId="2685841790" sldId="335"/>
            <ac:spMk id="25" creationId="{DD04EB09-E70D-294E-9E41-66B88B814360}"/>
          </ac:spMkLst>
        </pc:spChg>
        <pc:spChg chg="del">
          <ac:chgData name="Pinto Retamal, Rodrigo Enrique" userId="09b922dc-e301-4f7a-90fe-e924f95e94b9" providerId="ADAL" clId="{AAD99E02-1FAF-434B-BD74-F81CF4188FB5}" dt="2021-05-03T21:19:13.622" v="1519"/>
          <ac:spMkLst>
            <pc:docMk/>
            <pc:sldMk cId="2685841790" sldId="335"/>
            <ac:spMk id="26" creationId="{DD04EB09-E70D-294E-9E41-66B88B814360}"/>
          </ac:spMkLst>
        </pc:spChg>
        <pc:spChg chg="del">
          <ac:chgData name="Pinto Retamal, Rodrigo Enrique" userId="09b922dc-e301-4f7a-90fe-e924f95e94b9" providerId="ADAL" clId="{AAD99E02-1FAF-434B-BD74-F81CF4188FB5}" dt="2021-05-03T21:19:13.622" v="1519"/>
          <ac:spMkLst>
            <pc:docMk/>
            <pc:sldMk cId="2685841790" sldId="335"/>
            <ac:spMk id="27" creationId="{CCD07849-A499-FA4F-A80A-C567656E0619}"/>
          </ac:spMkLst>
        </pc:spChg>
        <pc:picChg chg="del">
          <ac:chgData name="Pinto Retamal, Rodrigo Enrique" userId="09b922dc-e301-4f7a-90fe-e924f95e94b9" providerId="ADAL" clId="{AAD99E02-1FAF-434B-BD74-F81CF4188FB5}" dt="2021-05-03T21:19:13.622" v="1519"/>
          <ac:picMkLst>
            <pc:docMk/>
            <pc:sldMk cId="2685841790" sldId="335"/>
            <ac:picMk id="2" creationId="{00000000-0000-0000-0000-000000000000}"/>
          </ac:picMkLst>
        </pc:picChg>
        <pc:picChg chg="del">
          <ac:chgData name="Pinto Retamal, Rodrigo Enrique" userId="09b922dc-e301-4f7a-90fe-e924f95e94b9" providerId="ADAL" clId="{AAD99E02-1FAF-434B-BD74-F81CF4188FB5}" dt="2021-05-03T21:19:13.622" v="1519"/>
          <ac:picMkLst>
            <pc:docMk/>
            <pc:sldMk cId="2685841790" sldId="335"/>
            <ac:picMk id="3" creationId="{00000000-0000-0000-0000-000000000000}"/>
          </ac:picMkLst>
        </pc:picChg>
        <pc:picChg chg="del">
          <ac:chgData name="Pinto Retamal, Rodrigo Enrique" userId="09b922dc-e301-4f7a-90fe-e924f95e94b9" providerId="ADAL" clId="{AAD99E02-1FAF-434B-BD74-F81CF4188FB5}" dt="2021-05-03T21:19:13.622" v="1519"/>
          <ac:picMkLst>
            <pc:docMk/>
            <pc:sldMk cId="2685841790" sldId="335"/>
            <ac:picMk id="4" creationId="{00000000-0000-0000-0000-000000000000}"/>
          </ac:picMkLst>
        </pc:picChg>
        <pc:picChg chg="del">
          <ac:chgData name="Pinto Retamal, Rodrigo Enrique" userId="09b922dc-e301-4f7a-90fe-e924f95e94b9" providerId="ADAL" clId="{AAD99E02-1FAF-434B-BD74-F81CF4188FB5}" dt="2021-05-03T21:19:13.622" v="1519"/>
          <ac:picMkLst>
            <pc:docMk/>
            <pc:sldMk cId="2685841790" sldId="335"/>
            <ac:picMk id="28" creationId="{D553713B-E26D-0B4F-A797-C442C617065D}"/>
          </ac:picMkLst>
        </pc:picChg>
        <pc:picChg chg="del">
          <ac:chgData name="Pinto Retamal, Rodrigo Enrique" userId="09b922dc-e301-4f7a-90fe-e924f95e94b9" providerId="ADAL" clId="{AAD99E02-1FAF-434B-BD74-F81CF4188FB5}" dt="2021-05-03T21:19:13.622" v="1519"/>
          <ac:picMkLst>
            <pc:docMk/>
            <pc:sldMk cId="2685841790" sldId="335"/>
            <ac:picMk id="29" creationId="{7F6D038D-0F3B-0444-A49F-8A96B0EC961C}"/>
          </ac:picMkLst>
        </pc:picChg>
      </pc:sldChg>
      <pc:sldChg chg="delSp add del modAnim">
        <pc:chgData name="Pinto Retamal, Rodrigo Enrique" userId="09b922dc-e301-4f7a-90fe-e924f95e94b9" providerId="ADAL" clId="{AAD99E02-1FAF-434B-BD74-F81CF4188FB5}" dt="2021-05-03T21:15:57.806" v="1472" actId="2696"/>
        <pc:sldMkLst>
          <pc:docMk/>
          <pc:sldMk cId="568444834" sldId="338"/>
        </pc:sldMkLst>
        <pc:spChg chg="del">
          <ac:chgData name="Pinto Retamal, Rodrigo Enrique" userId="09b922dc-e301-4f7a-90fe-e924f95e94b9" providerId="ADAL" clId="{AAD99E02-1FAF-434B-BD74-F81CF4188FB5}" dt="2021-05-03T21:15:29.794" v="1470"/>
          <ac:spMkLst>
            <pc:docMk/>
            <pc:sldMk cId="568444834" sldId="338"/>
            <ac:spMk id="4" creationId="{00000000-0000-0000-0000-000000000000}"/>
          </ac:spMkLst>
        </pc:spChg>
        <pc:spChg chg="del">
          <ac:chgData name="Pinto Retamal, Rodrigo Enrique" userId="09b922dc-e301-4f7a-90fe-e924f95e94b9" providerId="ADAL" clId="{AAD99E02-1FAF-434B-BD74-F81CF4188FB5}" dt="2021-05-03T21:15:29.794" v="1470"/>
          <ac:spMkLst>
            <pc:docMk/>
            <pc:sldMk cId="568444834" sldId="338"/>
            <ac:spMk id="6" creationId="{A1045FFC-9BAD-A04F-89B8-5434181DB64E}"/>
          </ac:spMkLst>
        </pc:spChg>
        <pc:spChg chg="del">
          <ac:chgData name="Pinto Retamal, Rodrigo Enrique" userId="09b922dc-e301-4f7a-90fe-e924f95e94b9" providerId="ADAL" clId="{AAD99E02-1FAF-434B-BD74-F81CF4188FB5}" dt="2021-05-03T21:15:29.794" v="1470"/>
          <ac:spMkLst>
            <pc:docMk/>
            <pc:sldMk cId="568444834" sldId="338"/>
            <ac:spMk id="7" creationId="{DD04EB09-E70D-294E-9E41-66B88B814360}"/>
          </ac:spMkLst>
        </pc:spChg>
        <pc:spChg chg="del">
          <ac:chgData name="Pinto Retamal, Rodrigo Enrique" userId="09b922dc-e301-4f7a-90fe-e924f95e94b9" providerId="ADAL" clId="{AAD99E02-1FAF-434B-BD74-F81CF4188FB5}" dt="2021-05-03T21:15:29.794" v="1470"/>
          <ac:spMkLst>
            <pc:docMk/>
            <pc:sldMk cId="568444834" sldId="338"/>
            <ac:spMk id="8" creationId="{857C62D1-F3F9-A942-A58B-555693C932D8}"/>
          </ac:spMkLst>
        </pc:spChg>
        <pc:spChg chg="del">
          <ac:chgData name="Pinto Retamal, Rodrigo Enrique" userId="09b922dc-e301-4f7a-90fe-e924f95e94b9" providerId="ADAL" clId="{AAD99E02-1FAF-434B-BD74-F81CF4188FB5}" dt="2021-05-03T21:15:29.794" v="1470"/>
          <ac:spMkLst>
            <pc:docMk/>
            <pc:sldMk cId="568444834" sldId="338"/>
            <ac:spMk id="9" creationId="{BAA018DB-36D5-D94A-B84A-61A2428CBD30}"/>
          </ac:spMkLst>
        </pc:spChg>
        <pc:spChg chg="del">
          <ac:chgData name="Pinto Retamal, Rodrigo Enrique" userId="09b922dc-e301-4f7a-90fe-e924f95e94b9" providerId="ADAL" clId="{AAD99E02-1FAF-434B-BD74-F81CF4188FB5}" dt="2021-05-03T21:15:29.794" v="1470"/>
          <ac:spMkLst>
            <pc:docMk/>
            <pc:sldMk cId="568444834" sldId="338"/>
            <ac:spMk id="11" creationId="{A1045FFC-9BAD-A04F-89B8-5434181DB64E}"/>
          </ac:spMkLst>
        </pc:spChg>
        <pc:spChg chg="del">
          <ac:chgData name="Pinto Retamal, Rodrigo Enrique" userId="09b922dc-e301-4f7a-90fe-e924f95e94b9" providerId="ADAL" clId="{AAD99E02-1FAF-434B-BD74-F81CF4188FB5}" dt="2021-05-03T21:15:29.794" v="1470"/>
          <ac:spMkLst>
            <pc:docMk/>
            <pc:sldMk cId="568444834" sldId="338"/>
            <ac:spMk id="12" creationId="{DD04EB09-E70D-294E-9E41-66B88B814360}"/>
          </ac:spMkLst>
        </pc:spChg>
        <pc:spChg chg="del">
          <ac:chgData name="Pinto Retamal, Rodrigo Enrique" userId="09b922dc-e301-4f7a-90fe-e924f95e94b9" providerId="ADAL" clId="{AAD99E02-1FAF-434B-BD74-F81CF4188FB5}" dt="2021-05-03T21:15:29.794" v="1470"/>
          <ac:spMkLst>
            <pc:docMk/>
            <pc:sldMk cId="568444834" sldId="338"/>
            <ac:spMk id="13" creationId="{857C62D1-F3F9-A942-A58B-555693C932D8}"/>
          </ac:spMkLst>
        </pc:spChg>
        <pc:spChg chg="del">
          <ac:chgData name="Pinto Retamal, Rodrigo Enrique" userId="09b922dc-e301-4f7a-90fe-e924f95e94b9" providerId="ADAL" clId="{AAD99E02-1FAF-434B-BD74-F81CF4188FB5}" dt="2021-05-03T21:15:29.794" v="1470"/>
          <ac:spMkLst>
            <pc:docMk/>
            <pc:sldMk cId="568444834" sldId="338"/>
            <ac:spMk id="14" creationId="{BAA018DB-36D5-D94A-B84A-61A2428CBD30}"/>
          </ac:spMkLst>
        </pc:spChg>
        <pc:picChg chg="del">
          <ac:chgData name="Pinto Retamal, Rodrigo Enrique" userId="09b922dc-e301-4f7a-90fe-e924f95e94b9" providerId="ADAL" clId="{AAD99E02-1FAF-434B-BD74-F81CF4188FB5}" dt="2021-05-03T21:15:29.794" v="1470"/>
          <ac:picMkLst>
            <pc:docMk/>
            <pc:sldMk cId="568444834" sldId="338"/>
            <ac:picMk id="2" creationId="{00000000-0000-0000-0000-000000000000}"/>
          </ac:picMkLst>
        </pc:picChg>
        <pc:picChg chg="del">
          <ac:chgData name="Pinto Retamal, Rodrigo Enrique" userId="09b922dc-e301-4f7a-90fe-e924f95e94b9" providerId="ADAL" clId="{AAD99E02-1FAF-434B-BD74-F81CF4188FB5}" dt="2021-05-03T21:15:29.794" v="1470"/>
          <ac:picMkLst>
            <pc:docMk/>
            <pc:sldMk cId="568444834" sldId="338"/>
            <ac:picMk id="3" creationId="{00000000-0000-0000-0000-000000000000}"/>
          </ac:picMkLst>
        </pc:picChg>
        <pc:picChg chg="del">
          <ac:chgData name="Pinto Retamal, Rodrigo Enrique" userId="09b922dc-e301-4f7a-90fe-e924f95e94b9" providerId="ADAL" clId="{AAD99E02-1FAF-434B-BD74-F81CF4188FB5}" dt="2021-05-03T21:15:29.794" v="1470"/>
          <ac:picMkLst>
            <pc:docMk/>
            <pc:sldMk cId="568444834" sldId="338"/>
            <ac:picMk id="17" creationId="{DB2B5455-3DD1-1F4B-8108-6DAE55DD0596}"/>
          </ac:picMkLst>
        </pc:picChg>
        <pc:picChg chg="del">
          <ac:chgData name="Pinto Retamal, Rodrigo Enrique" userId="09b922dc-e301-4f7a-90fe-e924f95e94b9" providerId="ADAL" clId="{AAD99E02-1FAF-434B-BD74-F81CF4188FB5}" dt="2021-05-03T21:15:29.794" v="1470"/>
          <ac:picMkLst>
            <pc:docMk/>
            <pc:sldMk cId="568444834" sldId="338"/>
            <ac:picMk id="18" creationId="{1314E084-669E-AE4F-88F7-F50F3CA78B2B}"/>
          </ac:picMkLst>
        </pc:picChg>
        <pc:picChg chg="del">
          <ac:chgData name="Pinto Retamal, Rodrigo Enrique" userId="09b922dc-e301-4f7a-90fe-e924f95e94b9" providerId="ADAL" clId="{AAD99E02-1FAF-434B-BD74-F81CF4188FB5}" dt="2021-05-03T21:15:29.794" v="1470"/>
          <ac:picMkLst>
            <pc:docMk/>
            <pc:sldMk cId="568444834" sldId="338"/>
            <ac:picMk id="23" creationId="{DB2B5455-3DD1-1F4B-8108-6DAE55DD0596}"/>
          </ac:picMkLst>
        </pc:picChg>
        <pc:picChg chg="del">
          <ac:chgData name="Pinto Retamal, Rodrigo Enrique" userId="09b922dc-e301-4f7a-90fe-e924f95e94b9" providerId="ADAL" clId="{AAD99E02-1FAF-434B-BD74-F81CF4188FB5}" dt="2021-05-03T21:15:29.794" v="1470"/>
          <ac:picMkLst>
            <pc:docMk/>
            <pc:sldMk cId="568444834" sldId="338"/>
            <ac:picMk id="24" creationId="{1314E084-669E-AE4F-88F7-F50F3CA78B2B}"/>
          </ac:picMkLst>
        </pc:picChg>
        <pc:picChg chg="del">
          <ac:chgData name="Pinto Retamal, Rodrigo Enrique" userId="09b922dc-e301-4f7a-90fe-e924f95e94b9" providerId="ADAL" clId="{AAD99E02-1FAF-434B-BD74-F81CF4188FB5}" dt="2021-05-03T21:15:29.794" v="1470"/>
          <ac:picMkLst>
            <pc:docMk/>
            <pc:sldMk cId="568444834" sldId="338"/>
            <ac:picMk id="25" creationId="{DB2B5455-3DD1-1F4B-8108-6DAE55DD0596}"/>
          </ac:picMkLst>
        </pc:picChg>
        <pc:picChg chg="del">
          <ac:chgData name="Pinto Retamal, Rodrigo Enrique" userId="09b922dc-e301-4f7a-90fe-e924f95e94b9" providerId="ADAL" clId="{AAD99E02-1FAF-434B-BD74-F81CF4188FB5}" dt="2021-05-03T21:15:29.794" v="1470"/>
          <ac:picMkLst>
            <pc:docMk/>
            <pc:sldMk cId="568444834" sldId="338"/>
            <ac:picMk id="26" creationId="{1314E084-669E-AE4F-88F7-F50F3CA78B2B}"/>
          </ac:picMkLst>
        </pc:picChg>
        <pc:picChg chg="del">
          <ac:chgData name="Pinto Retamal, Rodrigo Enrique" userId="09b922dc-e301-4f7a-90fe-e924f95e94b9" providerId="ADAL" clId="{AAD99E02-1FAF-434B-BD74-F81CF4188FB5}" dt="2021-05-03T21:15:29.794" v="1470"/>
          <ac:picMkLst>
            <pc:docMk/>
            <pc:sldMk cId="568444834" sldId="338"/>
            <ac:picMk id="27" creationId="{DB2B5455-3DD1-1F4B-8108-6DAE55DD0596}"/>
          </ac:picMkLst>
        </pc:picChg>
        <pc:picChg chg="del">
          <ac:chgData name="Pinto Retamal, Rodrigo Enrique" userId="09b922dc-e301-4f7a-90fe-e924f95e94b9" providerId="ADAL" clId="{AAD99E02-1FAF-434B-BD74-F81CF4188FB5}" dt="2021-05-03T21:15:29.794" v="1470"/>
          <ac:picMkLst>
            <pc:docMk/>
            <pc:sldMk cId="568444834" sldId="338"/>
            <ac:picMk id="29" creationId="{DB2B5455-3DD1-1F4B-8108-6DAE55DD0596}"/>
          </ac:picMkLst>
        </pc:picChg>
        <pc:picChg chg="del">
          <ac:chgData name="Pinto Retamal, Rodrigo Enrique" userId="09b922dc-e301-4f7a-90fe-e924f95e94b9" providerId="ADAL" clId="{AAD99E02-1FAF-434B-BD74-F81CF4188FB5}" dt="2021-05-03T21:15:29.794" v="1470"/>
          <ac:picMkLst>
            <pc:docMk/>
            <pc:sldMk cId="568444834" sldId="338"/>
            <ac:picMk id="30" creationId="{1314E084-669E-AE4F-88F7-F50F3CA78B2B}"/>
          </ac:picMkLst>
        </pc:picChg>
        <pc:picChg chg="del">
          <ac:chgData name="Pinto Retamal, Rodrigo Enrique" userId="09b922dc-e301-4f7a-90fe-e924f95e94b9" providerId="ADAL" clId="{AAD99E02-1FAF-434B-BD74-F81CF4188FB5}" dt="2021-05-03T21:15:29.794" v="1470"/>
          <ac:picMkLst>
            <pc:docMk/>
            <pc:sldMk cId="568444834" sldId="338"/>
            <ac:picMk id="31" creationId="{DB2B5455-3DD1-1F4B-8108-6DAE55DD0596}"/>
          </ac:picMkLst>
        </pc:picChg>
        <pc:picChg chg="del">
          <ac:chgData name="Pinto Retamal, Rodrigo Enrique" userId="09b922dc-e301-4f7a-90fe-e924f95e94b9" providerId="ADAL" clId="{AAD99E02-1FAF-434B-BD74-F81CF4188FB5}" dt="2021-05-03T21:15:29.794" v="1470"/>
          <ac:picMkLst>
            <pc:docMk/>
            <pc:sldMk cId="568444834" sldId="338"/>
            <ac:picMk id="32" creationId="{1314E084-669E-AE4F-88F7-F50F3CA78B2B}"/>
          </ac:picMkLst>
        </pc:picChg>
        <pc:picChg chg="del">
          <ac:chgData name="Pinto Retamal, Rodrigo Enrique" userId="09b922dc-e301-4f7a-90fe-e924f95e94b9" providerId="ADAL" clId="{AAD99E02-1FAF-434B-BD74-F81CF4188FB5}" dt="2021-05-03T21:15:29.794" v="1470"/>
          <ac:picMkLst>
            <pc:docMk/>
            <pc:sldMk cId="568444834" sldId="338"/>
            <ac:picMk id="33" creationId="{DB2B5455-3DD1-1F4B-8108-6DAE55DD0596}"/>
          </ac:picMkLst>
        </pc:picChg>
      </pc:sldChg>
      <pc:sldChg chg="add del">
        <pc:chgData name="Pinto Retamal, Rodrigo Enrique" userId="09b922dc-e301-4f7a-90fe-e924f95e94b9" providerId="ADAL" clId="{AAD99E02-1FAF-434B-BD74-F81CF4188FB5}" dt="2021-05-04T15:24:25.395" v="1946" actId="2696"/>
        <pc:sldMkLst>
          <pc:docMk/>
          <pc:sldMk cId="2447079197" sldId="346"/>
        </pc:sldMkLst>
      </pc:sldChg>
      <pc:sldChg chg="addSp delSp modSp add del modAnim">
        <pc:chgData name="Pinto Retamal, Rodrigo Enrique" userId="09b922dc-e301-4f7a-90fe-e924f95e94b9" providerId="ADAL" clId="{AAD99E02-1FAF-434B-BD74-F81CF4188FB5}" dt="2021-05-04T19:57:23.762" v="4294" actId="2696"/>
        <pc:sldMkLst>
          <pc:docMk/>
          <pc:sldMk cId="100271566" sldId="348"/>
        </pc:sldMkLst>
        <pc:spChg chg="del">
          <ac:chgData name="Pinto Retamal, Rodrigo Enrique" userId="09b922dc-e301-4f7a-90fe-e924f95e94b9" providerId="ADAL" clId="{AAD99E02-1FAF-434B-BD74-F81CF4188FB5}" dt="2021-05-04T19:56:04.721" v="4258"/>
          <ac:spMkLst>
            <pc:docMk/>
            <pc:sldMk cId="100271566" sldId="348"/>
            <ac:spMk id="3" creationId="{00000000-0000-0000-0000-000000000000}"/>
          </ac:spMkLst>
        </pc:spChg>
        <pc:spChg chg="add mod">
          <ac:chgData name="Pinto Retamal, Rodrigo Enrique" userId="09b922dc-e301-4f7a-90fe-e924f95e94b9" providerId="ADAL" clId="{AAD99E02-1FAF-434B-BD74-F81CF4188FB5}" dt="2021-05-04T19:56:04.721" v="4258"/>
          <ac:spMkLst>
            <pc:docMk/>
            <pc:sldMk cId="100271566" sldId="348"/>
            <ac:spMk id="6" creationId="{66798CDF-3CEA-4070-8179-17013159C613}"/>
          </ac:spMkLst>
        </pc:spChg>
        <pc:spChg chg="del">
          <ac:chgData name="Pinto Retamal, Rodrigo Enrique" userId="09b922dc-e301-4f7a-90fe-e924f95e94b9" providerId="ADAL" clId="{AAD99E02-1FAF-434B-BD74-F81CF4188FB5}" dt="2021-05-04T19:56:04.721" v="4258"/>
          <ac:spMkLst>
            <pc:docMk/>
            <pc:sldMk cId="100271566" sldId="348"/>
            <ac:spMk id="10" creationId="{2028288E-7F65-914A-96B4-1942718F45EB}"/>
          </ac:spMkLst>
        </pc:spChg>
        <pc:spChg chg="del">
          <ac:chgData name="Pinto Retamal, Rodrigo Enrique" userId="09b922dc-e301-4f7a-90fe-e924f95e94b9" providerId="ADAL" clId="{AAD99E02-1FAF-434B-BD74-F81CF4188FB5}" dt="2021-05-04T19:56:04.721" v="4258"/>
          <ac:spMkLst>
            <pc:docMk/>
            <pc:sldMk cId="100271566" sldId="348"/>
            <ac:spMk id="11" creationId="{01D7785E-E0B2-9241-BB8B-64603995F1FD}"/>
          </ac:spMkLst>
        </pc:spChg>
        <pc:spChg chg="del">
          <ac:chgData name="Pinto Retamal, Rodrigo Enrique" userId="09b922dc-e301-4f7a-90fe-e924f95e94b9" providerId="ADAL" clId="{AAD99E02-1FAF-434B-BD74-F81CF4188FB5}" dt="2021-05-04T19:56:04.721" v="4258"/>
          <ac:spMkLst>
            <pc:docMk/>
            <pc:sldMk cId="100271566" sldId="348"/>
            <ac:spMk id="12" creationId="{E7F3855B-536B-0F43-AFD6-74A8B13672D4}"/>
          </ac:spMkLst>
        </pc:spChg>
        <pc:spChg chg="del">
          <ac:chgData name="Pinto Retamal, Rodrigo Enrique" userId="09b922dc-e301-4f7a-90fe-e924f95e94b9" providerId="ADAL" clId="{AAD99E02-1FAF-434B-BD74-F81CF4188FB5}" dt="2021-05-04T19:56:04.721" v="4258"/>
          <ac:spMkLst>
            <pc:docMk/>
            <pc:sldMk cId="100271566" sldId="348"/>
            <ac:spMk id="18" creationId="{2028288E-7F65-914A-96B4-1942718F45EB}"/>
          </ac:spMkLst>
        </pc:spChg>
        <pc:spChg chg="del">
          <ac:chgData name="Pinto Retamal, Rodrigo Enrique" userId="09b922dc-e301-4f7a-90fe-e924f95e94b9" providerId="ADAL" clId="{AAD99E02-1FAF-434B-BD74-F81CF4188FB5}" dt="2021-05-04T19:56:04.721" v="4258"/>
          <ac:spMkLst>
            <pc:docMk/>
            <pc:sldMk cId="100271566" sldId="348"/>
            <ac:spMk id="19" creationId="{01D7785E-E0B2-9241-BB8B-64603995F1FD}"/>
          </ac:spMkLst>
        </pc:spChg>
        <pc:spChg chg="del">
          <ac:chgData name="Pinto Retamal, Rodrigo Enrique" userId="09b922dc-e301-4f7a-90fe-e924f95e94b9" providerId="ADAL" clId="{AAD99E02-1FAF-434B-BD74-F81CF4188FB5}" dt="2021-05-04T19:56:04.721" v="4258"/>
          <ac:spMkLst>
            <pc:docMk/>
            <pc:sldMk cId="100271566" sldId="348"/>
            <ac:spMk id="20" creationId="{E7F3855B-536B-0F43-AFD6-74A8B13672D4}"/>
          </ac:spMkLst>
        </pc:spChg>
        <pc:picChg chg="del">
          <ac:chgData name="Pinto Retamal, Rodrigo Enrique" userId="09b922dc-e301-4f7a-90fe-e924f95e94b9" providerId="ADAL" clId="{AAD99E02-1FAF-434B-BD74-F81CF4188FB5}" dt="2021-05-04T19:56:04.721" v="4258"/>
          <ac:picMkLst>
            <pc:docMk/>
            <pc:sldMk cId="100271566" sldId="348"/>
            <ac:picMk id="16" creationId="{9DE60E4E-A734-7F4A-A5D6-5F5FD6618A16}"/>
          </ac:picMkLst>
        </pc:picChg>
        <pc:picChg chg="del">
          <ac:chgData name="Pinto Retamal, Rodrigo Enrique" userId="09b922dc-e301-4f7a-90fe-e924f95e94b9" providerId="ADAL" clId="{AAD99E02-1FAF-434B-BD74-F81CF4188FB5}" dt="2021-05-04T19:56:04.721" v="4258"/>
          <ac:picMkLst>
            <pc:docMk/>
            <pc:sldMk cId="100271566" sldId="348"/>
            <ac:picMk id="17" creationId="{6833EA07-2235-B94D-BE81-DB5F3DE5E08C}"/>
          </ac:picMkLst>
        </pc:picChg>
        <pc:picChg chg="del">
          <ac:chgData name="Pinto Retamal, Rodrigo Enrique" userId="09b922dc-e301-4f7a-90fe-e924f95e94b9" providerId="ADAL" clId="{AAD99E02-1FAF-434B-BD74-F81CF4188FB5}" dt="2021-05-04T19:56:04.721" v="4258"/>
          <ac:picMkLst>
            <pc:docMk/>
            <pc:sldMk cId="100271566" sldId="348"/>
            <ac:picMk id="22" creationId="{00000000-0000-0000-0000-000000000000}"/>
          </ac:picMkLst>
        </pc:picChg>
        <pc:picChg chg="del">
          <ac:chgData name="Pinto Retamal, Rodrigo Enrique" userId="09b922dc-e301-4f7a-90fe-e924f95e94b9" providerId="ADAL" clId="{AAD99E02-1FAF-434B-BD74-F81CF4188FB5}" dt="2021-05-04T19:56:04.721" v="4258"/>
          <ac:picMkLst>
            <pc:docMk/>
            <pc:sldMk cId="100271566" sldId="348"/>
            <ac:picMk id="23" creationId="{00000000-0000-0000-0000-000000000000}"/>
          </ac:picMkLst>
        </pc:picChg>
      </pc:sldChg>
      <pc:sldChg chg="delSp add del modAnim">
        <pc:chgData name="Pinto Retamal, Rodrigo Enrique" userId="09b922dc-e301-4f7a-90fe-e924f95e94b9" providerId="ADAL" clId="{AAD99E02-1FAF-434B-BD74-F81CF4188FB5}" dt="2021-05-03T19:56:55.934" v="1112" actId="2696"/>
        <pc:sldMkLst>
          <pc:docMk/>
          <pc:sldMk cId="2879570543" sldId="350"/>
        </pc:sldMkLst>
        <pc:spChg chg="del">
          <ac:chgData name="Pinto Retamal, Rodrigo Enrique" userId="09b922dc-e301-4f7a-90fe-e924f95e94b9" providerId="ADAL" clId="{AAD99E02-1FAF-434B-BD74-F81CF4188FB5}" dt="2021-05-03T19:55:48.245" v="1090"/>
          <ac:spMkLst>
            <pc:docMk/>
            <pc:sldMk cId="2879570543" sldId="350"/>
            <ac:spMk id="9" creationId="{A1045FFC-9BAD-A04F-89B8-5434181DB64E}"/>
          </ac:spMkLst>
        </pc:spChg>
        <pc:spChg chg="del">
          <ac:chgData name="Pinto Retamal, Rodrigo Enrique" userId="09b922dc-e301-4f7a-90fe-e924f95e94b9" providerId="ADAL" clId="{AAD99E02-1FAF-434B-BD74-F81CF4188FB5}" dt="2021-05-03T19:55:48.245" v="1090"/>
          <ac:spMkLst>
            <pc:docMk/>
            <pc:sldMk cId="2879570543" sldId="350"/>
            <ac:spMk id="10" creationId="{DD04EB09-E70D-294E-9E41-66B88B814360}"/>
          </ac:spMkLst>
        </pc:spChg>
        <pc:spChg chg="del">
          <ac:chgData name="Pinto Retamal, Rodrigo Enrique" userId="09b922dc-e301-4f7a-90fe-e924f95e94b9" providerId="ADAL" clId="{AAD99E02-1FAF-434B-BD74-F81CF4188FB5}" dt="2021-05-03T19:55:48.245" v="1090"/>
          <ac:spMkLst>
            <pc:docMk/>
            <pc:sldMk cId="2879570543" sldId="350"/>
            <ac:spMk id="12" creationId="{857C62D1-F3F9-A942-A58B-555693C932D8}"/>
          </ac:spMkLst>
        </pc:spChg>
        <pc:spChg chg="del">
          <ac:chgData name="Pinto Retamal, Rodrigo Enrique" userId="09b922dc-e301-4f7a-90fe-e924f95e94b9" providerId="ADAL" clId="{AAD99E02-1FAF-434B-BD74-F81CF4188FB5}" dt="2021-05-03T19:55:48.245" v="1090"/>
          <ac:spMkLst>
            <pc:docMk/>
            <pc:sldMk cId="2879570543" sldId="350"/>
            <ac:spMk id="13" creationId="{BAA018DB-36D5-D94A-B84A-61A2428CBD30}"/>
          </ac:spMkLst>
        </pc:spChg>
        <pc:spChg chg="del">
          <ac:chgData name="Pinto Retamal, Rodrigo Enrique" userId="09b922dc-e301-4f7a-90fe-e924f95e94b9" providerId="ADAL" clId="{AAD99E02-1FAF-434B-BD74-F81CF4188FB5}" dt="2021-05-03T19:55:48.245" v="1090"/>
          <ac:spMkLst>
            <pc:docMk/>
            <pc:sldMk cId="2879570543" sldId="350"/>
            <ac:spMk id="14" creationId="{CCD07849-A499-FA4F-A80A-C567656E0619}"/>
          </ac:spMkLst>
        </pc:spChg>
        <pc:spChg chg="del">
          <ac:chgData name="Pinto Retamal, Rodrigo Enrique" userId="09b922dc-e301-4f7a-90fe-e924f95e94b9" providerId="ADAL" clId="{AAD99E02-1FAF-434B-BD74-F81CF4188FB5}" dt="2021-05-03T19:55:48.245" v="1090"/>
          <ac:spMkLst>
            <pc:docMk/>
            <pc:sldMk cId="2879570543" sldId="350"/>
            <ac:spMk id="21" creationId="{A1045FFC-9BAD-A04F-89B8-5434181DB64E}"/>
          </ac:spMkLst>
        </pc:spChg>
        <pc:spChg chg="del">
          <ac:chgData name="Pinto Retamal, Rodrigo Enrique" userId="09b922dc-e301-4f7a-90fe-e924f95e94b9" providerId="ADAL" clId="{AAD99E02-1FAF-434B-BD74-F81CF4188FB5}" dt="2021-05-03T19:55:48.245" v="1090"/>
          <ac:spMkLst>
            <pc:docMk/>
            <pc:sldMk cId="2879570543" sldId="350"/>
            <ac:spMk id="22" creationId="{B7C23470-9A3E-284F-B5B2-F96D1280B65E}"/>
          </ac:spMkLst>
        </pc:spChg>
      </pc:sldChg>
      <pc:sldChg chg="add del">
        <pc:chgData name="Pinto Retamal, Rodrigo Enrique" userId="09b922dc-e301-4f7a-90fe-e924f95e94b9" providerId="ADAL" clId="{AAD99E02-1FAF-434B-BD74-F81CF4188FB5}" dt="2021-05-04T19:27:36.526" v="3466" actId="2696"/>
        <pc:sldMkLst>
          <pc:docMk/>
          <pc:sldMk cId="2567739215" sldId="358"/>
        </pc:sldMkLst>
      </pc:sldChg>
      <pc:sldChg chg="add del">
        <pc:chgData name="Pinto Retamal, Rodrigo Enrique" userId="09b922dc-e301-4f7a-90fe-e924f95e94b9" providerId="ADAL" clId="{AAD99E02-1FAF-434B-BD74-F81CF4188FB5}" dt="2021-05-04T19:57:06.968" v="4292" actId="2696"/>
        <pc:sldMkLst>
          <pc:docMk/>
          <pc:sldMk cId="3909119829" sldId="360"/>
        </pc:sldMkLst>
      </pc:sldChg>
      <pc:sldChg chg="add del">
        <pc:chgData name="Pinto Retamal, Rodrigo Enrique" userId="09b922dc-e301-4f7a-90fe-e924f95e94b9" providerId="ADAL" clId="{AAD99E02-1FAF-434B-BD74-F81CF4188FB5}" dt="2021-05-04T19:58:56.116" v="4300" actId="2696"/>
        <pc:sldMkLst>
          <pc:docMk/>
          <pc:sldMk cId="3635502354" sldId="361"/>
        </pc:sldMkLst>
      </pc:sldChg>
      <pc:sldChg chg="add del">
        <pc:chgData name="Pinto Retamal, Rodrigo Enrique" userId="09b922dc-e301-4f7a-90fe-e924f95e94b9" providerId="ADAL" clId="{AAD99E02-1FAF-434B-BD74-F81CF4188FB5}" dt="2021-05-04T19:57:09.071" v="4293" actId="2696"/>
        <pc:sldMkLst>
          <pc:docMk/>
          <pc:sldMk cId="1418560544" sldId="362"/>
        </pc:sldMkLst>
      </pc:sldChg>
      <pc:sldChg chg="add del">
        <pc:chgData name="Pinto Retamal, Rodrigo Enrique" userId="09b922dc-e301-4f7a-90fe-e924f95e94b9" providerId="ADAL" clId="{AAD99E02-1FAF-434B-BD74-F81CF4188FB5}" dt="2021-05-04T19:59:25.290" v="4301" actId="2696"/>
        <pc:sldMkLst>
          <pc:docMk/>
          <pc:sldMk cId="891431919" sldId="363"/>
        </pc:sldMkLst>
      </pc:sldChg>
      <pc:sldChg chg="del">
        <pc:chgData name="Pinto Retamal, Rodrigo Enrique" userId="09b922dc-e301-4f7a-90fe-e924f95e94b9" providerId="ADAL" clId="{AAD99E02-1FAF-434B-BD74-F81CF4188FB5}" dt="2021-05-04T19:27:38.116" v="3468" actId="2696"/>
        <pc:sldMkLst>
          <pc:docMk/>
          <pc:sldMk cId="2116885576" sldId="369"/>
        </pc:sldMkLst>
      </pc:sldChg>
      <pc:sldChg chg="del">
        <pc:chgData name="Pinto Retamal, Rodrigo Enrique" userId="09b922dc-e301-4f7a-90fe-e924f95e94b9" providerId="ADAL" clId="{AAD99E02-1FAF-434B-BD74-F81CF4188FB5}" dt="2021-05-03T18:49:22.144" v="432" actId="2696"/>
        <pc:sldMkLst>
          <pc:docMk/>
          <pc:sldMk cId="9226727" sldId="378"/>
        </pc:sldMkLst>
      </pc:sldChg>
      <pc:sldChg chg="modSp">
        <pc:chgData name="Pinto Retamal, Rodrigo Enrique" userId="09b922dc-e301-4f7a-90fe-e924f95e94b9" providerId="ADAL" clId="{AAD99E02-1FAF-434B-BD74-F81CF4188FB5}" dt="2021-05-03T19:39:44.887" v="697" actId="20577"/>
        <pc:sldMkLst>
          <pc:docMk/>
          <pc:sldMk cId="2071240829" sldId="402"/>
        </pc:sldMkLst>
        <pc:spChg chg="mod">
          <ac:chgData name="Pinto Retamal, Rodrigo Enrique" userId="09b922dc-e301-4f7a-90fe-e924f95e94b9" providerId="ADAL" clId="{AAD99E02-1FAF-434B-BD74-F81CF4188FB5}" dt="2021-05-03T19:38:00.759" v="579" actId="20577"/>
          <ac:spMkLst>
            <pc:docMk/>
            <pc:sldMk cId="2071240829" sldId="402"/>
            <ac:spMk id="9" creationId="{2412CBF5-EF4C-AC42-A42B-CAD2B4C404A8}"/>
          </ac:spMkLst>
        </pc:spChg>
        <pc:spChg chg="mod">
          <ac:chgData name="Pinto Retamal, Rodrigo Enrique" userId="09b922dc-e301-4f7a-90fe-e924f95e94b9" providerId="ADAL" clId="{AAD99E02-1FAF-434B-BD74-F81CF4188FB5}" dt="2021-05-03T19:38:13.114" v="603" actId="20577"/>
          <ac:spMkLst>
            <pc:docMk/>
            <pc:sldMk cId="2071240829" sldId="402"/>
            <ac:spMk id="10" creationId="{D49A59EF-B488-EE44-AADB-A44A8EB11EA9}"/>
          </ac:spMkLst>
        </pc:spChg>
        <pc:spChg chg="mod">
          <ac:chgData name="Pinto Retamal, Rodrigo Enrique" userId="09b922dc-e301-4f7a-90fe-e924f95e94b9" providerId="ADAL" clId="{AAD99E02-1FAF-434B-BD74-F81CF4188FB5}" dt="2021-05-03T19:39:44.887" v="697" actId="20577"/>
          <ac:spMkLst>
            <pc:docMk/>
            <pc:sldMk cId="2071240829" sldId="402"/>
            <ac:spMk id="11" creationId="{7FF6FEF6-E884-0646-9AED-71D2ADBE91F5}"/>
          </ac:spMkLst>
        </pc:spChg>
        <pc:spChg chg="mod">
          <ac:chgData name="Pinto Retamal, Rodrigo Enrique" userId="09b922dc-e301-4f7a-90fe-e924f95e94b9" providerId="ADAL" clId="{AAD99E02-1FAF-434B-BD74-F81CF4188FB5}" dt="2021-05-03T19:39:18.865" v="667" actId="20577"/>
          <ac:spMkLst>
            <pc:docMk/>
            <pc:sldMk cId="2071240829" sldId="402"/>
            <ac:spMk id="12" creationId="{276EB8BF-7057-F141-A66C-8C67F1D1290C}"/>
          </ac:spMkLst>
        </pc:spChg>
      </pc:sldChg>
      <pc:sldChg chg="modSp">
        <pc:chgData name="Pinto Retamal, Rodrigo Enrique" userId="09b922dc-e301-4f7a-90fe-e924f95e94b9" providerId="ADAL" clId="{AAD99E02-1FAF-434B-BD74-F81CF4188FB5}" dt="2021-05-03T18:56:33.971" v="497" actId="113"/>
        <pc:sldMkLst>
          <pc:docMk/>
          <pc:sldMk cId="2097179026" sldId="426"/>
        </pc:sldMkLst>
        <pc:spChg chg="mod">
          <ac:chgData name="Pinto Retamal, Rodrigo Enrique" userId="09b922dc-e301-4f7a-90fe-e924f95e94b9" providerId="ADAL" clId="{AAD99E02-1FAF-434B-BD74-F81CF4188FB5}" dt="2021-05-03T18:56:33.971" v="497" actId="113"/>
          <ac:spMkLst>
            <pc:docMk/>
            <pc:sldMk cId="2097179026" sldId="426"/>
            <ac:spMk id="10" creationId="{188F7E02-E3B0-E243-B6C7-271683C98156}"/>
          </ac:spMkLst>
        </pc:spChg>
      </pc:sldChg>
      <pc:sldChg chg="addSp delSp modSp modAnim">
        <pc:chgData name="Pinto Retamal, Rodrigo Enrique" userId="09b922dc-e301-4f7a-90fe-e924f95e94b9" providerId="ADAL" clId="{AAD99E02-1FAF-434B-BD74-F81CF4188FB5}" dt="2021-05-03T19:03:11.953" v="533" actId="1076"/>
        <pc:sldMkLst>
          <pc:docMk/>
          <pc:sldMk cId="1250258993" sldId="427"/>
        </pc:sldMkLst>
        <pc:spChg chg="del">
          <ac:chgData name="Pinto Retamal, Rodrigo Enrique" userId="09b922dc-e301-4f7a-90fe-e924f95e94b9" providerId="ADAL" clId="{AAD99E02-1FAF-434B-BD74-F81CF4188FB5}" dt="2021-05-03T18:56:08.324" v="493" actId="478"/>
          <ac:spMkLst>
            <pc:docMk/>
            <pc:sldMk cId="1250258993" sldId="427"/>
            <ac:spMk id="4" creationId="{676B3D3E-A1F5-4542-9097-64FC1DA65C3F}"/>
          </ac:spMkLst>
        </pc:spChg>
        <pc:spChg chg="add del mod">
          <ac:chgData name="Pinto Retamal, Rodrigo Enrique" userId="09b922dc-e301-4f7a-90fe-e924f95e94b9" providerId="ADAL" clId="{AAD99E02-1FAF-434B-BD74-F81CF4188FB5}" dt="2021-05-03T18:56:17.548" v="496" actId="478"/>
          <ac:spMkLst>
            <pc:docMk/>
            <pc:sldMk cId="1250258993" sldId="427"/>
            <ac:spMk id="6" creationId="{D9E4372A-C29C-44D7-856C-5550121D5CB3}"/>
          </ac:spMkLst>
        </pc:spChg>
        <pc:spChg chg="del">
          <ac:chgData name="Pinto Retamal, Rodrigo Enrique" userId="09b922dc-e301-4f7a-90fe-e924f95e94b9" providerId="ADAL" clId="{AAD99E02-1FAF-434B-BD74-F81CF4188FB5}" dt="2021-05-03T18:56:09.953" v="494" actId="478"/>
          <ac:spMkLst>
            <pc:docMk/>
            <pc:sldMk cId="1250258993" sldId="427"/>
            <ac:spMk id="9" creationId="{8ED14B91-0EF6-4D4A-99CF-A2C069A3C931}"/>
          </ac:spMkLst>
        </pc:spChg>
        <pc:spChg chg="del">
          <ac:chgData name="Pinto Retamal, Rodrigo Enrique" userId="09b922dc-e301-4f7a-90fe-e924f95e94b9" providerId="ADAL" clId="{AAD99E02-1FAF-434B-BD74-F81CF4188FB5}" dt="2021-05-03T18:56:13.096" v="495" actId="478"/>
          <ac:spMkLst>
            <pc:docMk/>
            <pc:sldMk cId="1250258993" sldId="427"/>
            <ac:spMk id="10" creationId="{188F7E02-E3B0-E243-B6C7-271683C98156}"/>
          </ac:spMkLst>
        </pc:spChg>
        <pc:spChg chg="add del">
          <ac:chgData name="Pinto Retamal, Rodrigo Enrique" userId="09b922dc-e301-4f7a-90fe-e924f95e94b9" providerId="ADAL" clId="{AAD99E02-1FAF-434B-BD74-F81CF4188FB5}" dt="2021-05-03T18:57:31.655" v="499" actId="478"/>
          <ac:spMkLst>
            <pc:docMk/>
            <pc:sldMk cId="1250258993" sldId="427"/>
            <ac:spMk id="12" creationId="{4A75DB6E-C848-4916-8701-3031092E8647}"/>
          </ac:spMkLst>
        </pc:spChg>
        <pc:spChg chg="add mod">
          <ac:chgData name="Pinto Retamal, Rodrigo Enrique" userId="09b922dc-e301-4f7a-90fe-e924f95e94b9" providerId="ADAL" clId="{AAD99E02-1FAF-434B-BD74-F81CF4188FB5}" dt="2021-05-03T18:58:19.934" v="530" actId="1076"/>
          <ac:spMkLst>
            <pc:docMk/>
            <pc:sldMk cId="1250258993" sldId="427"/>
            <ac:spMk id="13" creationId="{15038F41-C836-4F36-BC64-0D2E126A3B1D}"/>
          </ac:spMkLst>
        </pc:spChg>
        <pc:spChg chg="add mod">
          <ac:chgData name="Pinto Retamal, Rodrigo Enrique" userId="09b922dc-e301-4f7a-90fe-e924f95e94b9" providerId="ADAL" clId="{AAD99E02-1FAF-434B-BD74-F81CF4188FB5}" dt="2021-05-03T18:58:04.633" v="508" actId="1076"/>
          <ac:spMkLst>
            <pc:docMk/>
            <pc:sldMk cId="1250258993" sldId="427"/>
            <ac:spMk id="14" creationId="{7D9320BD-E045-4AFC-B3B3-C1444F0C6604}"/>
          </ac:spMkLst>
        </pc:spChg>
        <pc:spChg chg="mod">
          <ac:chgData name="Pinto Retamal, Rodrigo Enrique" userId="09b922dc-e301-4f7a-90fe-e924f95e94b9" providerId="ADAL" clId="{AAD99E02-1FAF-434B-BD74-F81CF4188FB5}" dt="2021-05-03T18:56:02.649" v="491" actId="20577"/>
          <ac:spMkLst>
            <pc:docMk/>
            <pc:sldMk cId="1250258993" sldId="427"/>
            <ac:spMk id="24" creationId="{42B9B605-B12F-6147-BFF4-BCAF18B25A68}"/>
          </ac:spMkLst>
        </pc:spChg>
        <pc:spChg chg="mod">
          <ac:chgData name="Pinto Retamal, Rodrigo Enrique" userId="09b922dc-e301-4f7a-90fe-e924f95e94b9" providerId="ADAL" clId="{AAD99E02-1FAF-434B-BD74-F81CF4188FB5}" dt="2021-05-03T18:58:18.483" v="529" actId="20577"/>
          <ac:spMkLst>
            <pc:docMk/>
            <pc:sldMk cId="1250258993" sldId="427"/>
            <ac:spMk id="25" creationId="{895E7C57-E423-7444-A1F9-CACBB7D8C0FB}"/>
          </ac:spMkLst>
        </pc:spChg>
        <pc:picChg chg="del">
          <ac:chgData name="Pinto Retamal, Rodrigo Enrique" userId="09b922dc-e301-4f7a-90fe-e924f95e94b9" providerId="ADAL" clId="{AAD99E02-1FAF-434B-BD74-F81CF4188FB5}" dt="2021-05-03T18:56:06.057" v="492" actId="478"/>
          <ac:picMkLst>
            <pc:docMk/>
            <pc:sldMk cId="1250258993" sldId="427"/>
            <ac:picMk id="3" creationId="{0A3BD580-E8AA-42CD-95A1-9A71AB5215D6}"/>
          </ac:picMkLst>
        </pc:picChg>
        <pc:picChg chg="add del mod">
          <ac:chgData name="Pinto Retamal, Rodrigo Enrique" userId="09b922dc-e301-4f7a-90fe-e924f95e94b9" providerId="ADAL" clId="{AAD99E02-1FAF-434B-BD74-F81CF4188FB5}" dt="2021-05-03T19:03:03.556" v="532" actId="478"/>
          <ac:picMkLst>
            <pc:docMk/>
            <pc:sldMk cId="1250258993" sldId="427"/>
            <ac:picMk id="15" creationId="{B0645D89-A30F-49D0-9B93-6E223AB1A9DC}"/>
          </ac:picMkLst>
        </pc:picChg>
        <pc:picChg chg="add mod">
          <ac:chgData name="Pinto Retamal, Rodrigo Enrique" userId="09b922dc-e301-4f7a-90fe-e924f95e94b9" providerId="ADAL" clId="{AAD99E02-1FAF-434B-BD74-F81CF4188FB5}" dt="2021-05-03T19:03:11.953" v="533" actId="1076"/>
          <ac:picMkLst>
            <pc:docMk/>
            <pc:sldMk cId="1250258993" sldId="427"/>
            <ac:picMk id="16" creationId="{9CCAA173-372C-4465-9333-6147A68E6686}"/>
          </ac:picMkLst>
        </pc:picChg>
      </pc:sldChg>
      <pc:sldChg chg="add">
        <pc:chgData name="Pinto Retamal, Rodrigo Enrique" userId="09b922dc-e301-4f7a-90fe-e924f95e94b9" providerId="ADAL" clId="{AAD99E02-1FAF-434B-BD74-F81CF4188FB5}" dt="2021-05-03T19:40:57.347" v="699"/>
        <pc:sldMkLst>
          <pc:docMk/>
          <pc:sldMk cId="1483828587" sldId="428"/>
        </pc:sldMkLst>
      </pc:sldChg>
      <pc:sldChg chg="del">
        <pc:chgData name="Pinto Retamal, Rodrigo Enrique" userId="09b922dc-e301-4f7a-90fe-e924f95e94b9" providerId="ADAL" clId="{AAD99E02-1FAF-434B-BD74-F81CF4188FB5}" dt="2021-05-03T19:40:47.535" v="698" actId="2696"/>
        <pc:sldMkLst>
          <pc:docMk/>
          <pc:sldMk cId="1629237155" sldId="428"/>
        </pc:sldMkLst>
      </pc:sldChg>
      <pc:sldChg chg="addSp delSp modSp ord modAnim">
        <pc:chgData name="Pinto Retamal, Rodrigo Enrique" userId="09b922dc-e301-4f7a-90fe-e924f95e94b9" providerId="ADAL" clId="{AAD99E02-1FAF-434B-BD74-F81CF4188FB5}" dt="2021-05-04T15:13:27.881" v="1546" actId="20577"/>
        <pc:sldMkLst>
          <pc:docMk/>
          <pc:sldMk cId="1880715635" sldId="429"/>
        </pc:sldMkLst>
        <pc:spChg chg="add mod">
          <ac:chgData name="Pinto Retamal, Rodrigo Enrique" userId="09b922dc-e301-4f7a-90fe-e924f95e94b9" providerId="ADAL" clId="{AAD99E02-1FAF-434B-BD74-F81CF4188FB5}" dt="2021-05-04T15:13:27.881" v="1546" actId="20577"/>
          <ac:spMkLst>
            <pc:docMk/>
            <pc:sldMk cId="1880715635" sldId="429"/>
            <ac:spMk id="7" creationId="{16EB8560-29B8-4116-9CCF-015DFD780636}"/>
          </ac:spMkLst>
        </pc:spChg>
        <pc:spChg chg="add">
          <ac:chgData name="Pinto Retamal, Rodrigo Enrique" userId="09b922dc-e301-4f7a-90fe-e924f95e94b9" providerId="ADAL" clId="{AAD99E02-1FAF-434B-BD74-F81CF4188FB5}" dt="2021-05-03T21:15:33.811" v="1471"/>
          <ac:spMkLst>
            <pc:docMk/>
            <pc:sldMk cId="1880715635" sldId="429"/>
            <ac:spMk id="8" creationId="{7CC0FC2C-1634-4F45-9F12-6FE4C29E4C4D}"/>
          </ac:spMkLst>
        </pc:spChg>
        <pc:spChg chg="add">
          <ac:chgData name="Pinto Retamal, Rodrigo Enrique" userId="09b922dc-e301-4f7a-90fe-e924f95e94b9" providerId="ADAL" clId="{AAD99E02-1FAF-434B-BD74-F81CF4188FB5}" dt="2021-05-03T21:15:33.811" v="1471"/>
          <ac:spMkLst>
            <pc:docMk/>
            <pc:sldMk cId="1880715635" sldId="429"/>
            <ac:spMk id="9" creationId="{5174DBCE-2CF8-4F0D-813D-4E0741915F67}"/>
          </ac:spMkLst>
        </pc:spChg>
        <pc:spChg chg="add">
          <ac:chgData name="Pinto Retamal, Rodrigo Enrique" userId="09b922dc-e301-4f7a-90fe-e924f95e94b9" providerId="ADAL" clId="{AAD99E02-1FAF-434B-BD74-F81CF4188FB5}" dt="2021-05-03T21:15:33.811" v="1471"/>
          <ac:spMkLst>
            <pc:docMk/>
            <pc:sldMk cId="1880715635" sldId="429"/>
            <ac:spMk id="11" creationId="{95035C58-A721-4A56-95F0-1FE0F23487D6}"/>
          </ac:spMkLst>
        </pc:spChg>
        <pc:spChg chg="add">
          <ac:chgData name="Pinto Retamal, Rodrigo Enrique" userId="09b922dc-e301-4f7a-90fe-e924f95e94b9" providerId="ADAL" clId="{AAD99E02-1FAF-434B-BD74-F81CF4188FB5}" dt="2021-05-03T21:15:33.811" v="1471"/>
          <ac:spMkLst>
            <pc:docMk/>
            <pc:sldMk cId="1880715635" sldId="429"/>
            <ac:spMk id="12" creationId="{1043BA0D-CF30-4618-AABE-B5D61F86C316}"/>
          </ac:spMkLst>
        </pc:spChg>
        <pc:spChg chg="add">
          <ac:chgData name="Pinto Retamal, Rodrigo Enrique" userId="09b922dc-e301-4f7a-90fe-e924f95e94b9" providerId="ADAL" clId="{AAD99E02-1FAF-434B-BD74-F81CF4188FB5}" dt="2021-05-03T21:15:33.811" v="1471"/>
          <ac:spMkLst>
            <pc:docMk/>
            <pc:sldMk cId="1880715635" sldId="429"/>
            <ac:spMk id="13" creationId="{3828BB86-F0EC-4CF2-9F23-5AF0D4F078C0}"/>
          </ac:spMkLst>
        </pc:spChg>
        <pc:spChg chg="add">
          <ac:chgData name="Pinto Retamal, Rodrigo Enrique" userId="09b922dc-e301-4f7a-90fe-e924f95e94b9" providerId="ADAL" clId="{AAD99E02-1FAF-434B-BD74-F81CF4188FB5}" dt="2021-05-03T21:15:33.811" v="1471"/>
          <ac:spMkLst>
            <pc:docMk/>
            <pc:sldMk cId="1880715635" sldId="429"/>
            <ac:spMk id="14" creationId="{1A5518C1-D8B5-478F-B807-8D7CEB4AFAAF}"/>
          </ac:spMkLst>
        </pc:spChg>
        <pc:spChg chg="add">
          <ac:chgData name="Pinto Retamal, Rodrigo Enrique" userId="09b922dc-e301-4f7a-90fe-e924f95e94b9" providerId="ADAL" clId="{AAD99E02-1FAF-434B-BD74-F81CF4188FB5}" dt="2021-05-03T21:15:33.811" v="1471"/>
          <ac:spMkLst>
            <pc:docMk/>
            <pc:sldMk cId="1880715635" sldId="429"/>
            <ac:spMk id="15" creationId="{6F23A892-FF67-4C1D-A5C8-D58618642F40}"/>
          </ac:spMkLst>
        </pc:spChg>
        <pc:spChg chg="mod">
          <ac:chgData name="Pinto Retamal, Rodrigo Enrique" userId="09b922dc-e301-4f7a-90fe-e924f95e94b9" providerId="ADAL" clId="{AAD99E02-1FAF-434B-BD74-F81CF4188FB5}" dt="2021-05-03T21:13:20.940" v="1397" actId="20577"/>
          <ac:spMkLst>
            <pc:docMk/>
            <pc:sldMk cId="1880715635" sldId="429"/>
            <ac:spMk id="24" creationId="{42B9B605-B12F-6147-BFF4-BCAF18B25A68}"/>
          </ac:spMkLst>
        </pc:spChg>
        <pc:spChg chg="mod">
          <ac:chgData name="Pinto Retamal, Rodrigo Enrique" userId="09b922dc-e301-4f7a-90fe-e924f95e94b9" providerId="ADAL" clId="{AAD99E02-1FAF-434B-BD74-F81CF4188FB5}" dt="2021-05-03T21:14:59.108" v="1469" actId="20577"/>
          <ac:spMkLst>
            <pc:docMk/>
            <pc:sldMk cId="1880715635" sldId="429"/>
            <ac:spMk id="25" creationId="{895E7C57-E423-7444-A1F9-CACBB7D8C0FB}"/>
          </ac:spMkLst>
        </pc:spChg>
        <pc:spChg chg="add">
          <ac:chgData name="Pinto Retamal, Rodrigo Enrique" userId="09b922dc-e301-4f7a-90fe-e924f95e94b9" providerId="ADAL" clId="{AAD99E02-1FAF-434B-BD74-F81CF4188FB5}" dt="2021-05-03T21:15:33.811" v="1471"/>
          <ac:spMkLst>
            <pc:docMk/>
            <pc:sldMk cId="1880715635" sldId="429"/>
            <ac:spMk id="27" creationId="{EF3F46A0-9780-4B3B-9203-2F74B592BA1D}"/>
          </ac:spMkLst>
        </pc:spChg>
        <pc:picChg chg="del">
          <ac:chgData name="Pinto Retamal, Rodrigo Enrique" userId="09b922dc-e301-4f7a-90fe-e924f95e94b9" providerId="ADAL" clId="{AAD99E02-1FAF-434B-BD74-F81CF4188FB5}" dt="2021-05-03T21:10:03.412" v="1364" actId="478"/>
          <ac:picMkLst>
            <pc:docMk/>
            <pc:sldMk cId="1880715635" sldId="429"/>
            <ac:picMk id="10" creationId="{49DD3BB4-8845-4A45-A74D-53C0B0ADCDBB}"/>
          </ac:picMkLst>
        </pc:picChg>
        <pc:picChg chg="add">
          <ac:chgData name="Pinto Retamal, Rodrigo Enrique" userId="09b922dc-e301-4f7a-90fe-e924f95e94b9" providerId="ADAL" clId="{AAD99E02-1FAF-434B-BD74-F81CF4188FB5}" dt="2021-05-03T21:15:33.811" v="1471"/>
          <ac:picMkLst>
            <pc:docMk/>
            <pc:sldMk cId="1880715635" sldId="429"/>
            <ac:picMk id="16" creationId="{085D748E-1672-48E6-9378-75D90E66A0CD}"/>
          </ac:picMkLst>
        </pc:picChg>
        <pc:picChg chg="add">
          <ac:chgData name="Pinto Retamal, Rodrigo Enrique" userId="09b922dc-e301-4f7a-90fe-e924f95e94b9" providerId="ADAL" clId="{AAD99E02-1FAF-434B-BD74-F81CF4188FB5}" dt="2021-05-03T21:15:33.811" v="1471"/>
          <ac:picMkLst>
            <pc:docMk/>
            <pc:sldMk cId="1880715635" sldId="429"/>
            <ac:picMk id="17" creationId="{516401B5-00C5-4F67-82A6-A45FF2FA57FA}"/>
          </ac:picMkLst>
        </pc:picChg>
        <pc:picChg chg="add">
          <ac:chgData name="Pinto Retamal, Rodrigo Enrique" userId="09b922dc-e301-4f7a-90fe-e924f95e94b9" providerId="ADAL" clId="{AAD99E02-1FAF-434B-BD74-F81CF4188FB5}" dt="2021-05-03T21:15:33.811" v="1471"/>
          <ac:picMkLst>
            <pc:docMk/>
            <pc:sldMk cId="1880715635" sldId="429"/>
            <ac:picMk id="18" creationId="{0939D85E-8B28-4D94-B03B-64365C7DE3EC}"/>
          </ac:picMkLst>
        </pc:picChg>
        <pc:picChg chg="add">
          <ac:chgData name="Pinto Retamal, Rodrigo Enrique" userId="09b922dc-e301-4f7a-90fe-e924f95e94b9" providerId="ADAL" clId="{AAD99E02-1FAF-434B-BD74-F81CF4188FB5}" dt="2021-05-03T21:15:33.811" v="1471"/>
          <ac:picMkLst>
            <pc:docMk/>
            <pc:sldMk cId="1880715635" sldId="429"/>
            <ac:picMk id="19" creationId="{4E5AABD0-0E26-428A-B8BB-5B5EE5494D48}"/>
          </ac:picMkLst>
        </pc:picChg>
        <pc:picChg chg="add">
          <ac:chgData name="Pinto Retamal, Rodrigo Enrique" userId="09b922dc-e301-4f7a-90fe-e924f95e94b9" providerId="ADAL" clId="{AAD99E02-1FAF-434B-BD74-F81CF4188FB5}" dt="2021-05-03T21:15:33.811" v="1471"/>
          <ac:picMkLst>
            <pc:docMk/>
            <pc:sldMk cId="1880715635" sldId="429"/>
            <ac:picMk id="20" creationId="{7FB48E2E-09CA-45CF-BEB6-27AE85CE2DA0}"/>
          </ac:picMkLst>
        </pc:picChg>
        <pc:picChg chg="add">
          <ac:chgData name="Pinto Retamal, Rodrigo Enrique" userId="09b922dc-e301-4f7a-90fe-e924f95e94b9" providerId="ADAL" clId="{AAD99E02-1FAF-434B-BD74-F81CF4188FB5}" dt="2021-05-03T21:15:33.811" v="1471"/>
          <ac:picMkLst>
            <pc:docMk/>
            <pc:sldMk cId="1880715635" sldId="429"/>
            <ac:picMk id="21" creationId="{471715FE-8D30-44D9-ABEF-293B7B56D34E}"/>
          </ac:picMkLst>
        </pc:picChg>
        <pc:picChg chg="add">
          <ac:chgData name="Pinto Retamal, Rodrigo Enrique" userId="09b922dc-e301-4f7a-90fe-e924f95e94b9" providerId="ADAL" clId="{AAD99E02-1FAF-434B-BD74-F81CF4188FB5}" dt="2021-05-03T21:15:33.811" v="1471"/>
          <ac:picMkLst>
            <pc:docMk/>
            <pc:sldMk cId="1880715635" sldId="429"/>
            <ac:picMk id="22" creationId="{85789DDB-BEE5-47B1-9D08-62BD5468850E}"/>
          </ac:picMkLst>
        </pc:picChg>
        <pc:picChg chg="add">
          <ac:chgData name="Pinto Retamal, Rodrigo Enrique" userId="09b922dc-e301-4f7a-90fe-e924f95e94b9" providerId="ADAL" clId="{AAD99E02-1FAF-434B-BD74-F81CF4188FB5}" dt="2021-05-03T21:15:33.811" v="1471"/>
          <ac:picMkLst>
            <pc:docMk/>
            <pc:sldMk cId="1880715635" sldId="429"/>
            <ac:picMk id="23" creationId="{0A699AE6-AC61-485C-9040-64CDAC8D6DAE}"/>
          </ac:picMkLst>
        </pc:picChg>
        <pc:picChg chg="add">
          <ac:chgData name="Pinto Retamal, Rodrigo Enrique" userId="09b922dc-e301-4f7a-90fe-e924f95e94b9" providerId="ADAL" clId="{AAD99E02-1FAF-434B-BD74-F81CF4188FB5}" dt="2021-05-03T21:15:33.811" v="1471"/>
          <ac:picMkLst>
            <pc:docMk/>
            <pc:sldMk cId="1880715635" sldId="429"/>
            <ac:picMk id="26" creationId="{DA3A0ABD-05FD-46E7-A491-41D3761A6047}"/>
          </ac:picMkLst>
        </pc:picChg>
        <pc:picChg chg="add">
          <ac:chgData name="Pinto Retamal, Rodrigo Enrique" userId="09b922dc-e301-4f7a-90fe-e924f95e94b9" providerId="ADAL" clId="{AAD99E02-1FAF-434B-BD74-F81CF4188FB5}" dt="2021-05-03T21:15:33.811" v="1471"/>
          <ac:picMkLst>
            <pc:docMk/>
            <pc:sldMk cId="1880715635" sldId="429"/>
            <ac:picMk id="28" creationId="{9F65234D-234D-4843-B3DD-E1AD0FBDE3DC}"/>
          </ac:picMkLst>
        </pc:picChg>
        <pc:picChg chg="add">
          <ac:chgData name="Pinto Retamal, Rodrigo Enrique" userId="09b922dc-e301-4f7a-90fe-e924f95e94b9" providerId="ADAL" clId="{AAD99E02-1FAF-434B-BD74-F81CF4188FB5}" dt="2021-05-03T21:15:33.811" v="1471"/>
          <ac:picMkLst>
            <pc:docMk/>
            <pc:sldMk cId="1880715635" sldId="429"/>
            <ac:picMk id="29" creationId="{31A0FC5F-CD98-4511-9B20-0382CA65A536}"/>
          </ac:picMkLst>
        </pc:picChg>
        <pc:picChg chg="add">
          <ac:chgData name="Pinto Retamal, Rodrigo Enrique" userId="09b922dc-e301-4f7a-90fe-e924f95e94b9" providerId="ADAL" clId="{AAD99E02-1FAF-434B-BD74-F81CF4188FB5}" dt="2021-05-03T21:15:33.811" v="1471"/>
          <ac:picMkLst>
            <pc:docMk/>
            <pc:sldMk cId="1880715635" sldId="429"/>
            <ac:picMk id="30" creationId="{00A4D79C-2340-4A57-BA6E-7E4F07CEFD21}"/>
          </ac:picMkLst>
        </pc:picChg>
        <pc:picChg chg="add">
          <ac:chgData name="Pinto Retamal, Rodrigo Enrique" userId="09b922dc-e301-4f7a-90fe-e924f95e94b9" providerId="ADAL" clId="{AAD99E02-1FAF-434B-BD74-F81CF4188FB5}" dt="2021-05-03T21:15:33.811" v="1471"/>
          <ac:picMkLst>
            <pc:docMk/>
            <pc:sldMk cId="1880715635" sldId="429"/>
            <ac:picMk id="31" creationId="{0CA02C12-4D69-483D-935F-CE57BA88FDB0}"/>
          </ac:picMkLst>
        </pc:picChg>
        <pc:picChg chg="add">
          <ac:chgData name="Pinto Retamal, Rodrigo Enrique" userId="09b922dc-e301-4f7a-90fe-e924f95e94b9" providerId="ADAL" clId="{AAD99E02-1FAF-434B-BD74-F81CF4188FB5}" dt="2021-05-03T21:15:33.811" v="1471"/>
          <ac:picMkLst>
            <pc:docMk/>
            <pc:sldMk cId="1880715635" sldId="429"/>
            <ac:picMk id="32" creationId="{654DCBD1-274F-4972-9CE9-40B85B7B94A0}"/>
          </ac:picMkLst>
        </pc:picChg>
      </pc:sldChg>
      <pc:sldChg chg="addSp delSp modSp delAnim modAnim">
        <pc:chgData name="Pinto Retamal, Rodrigo Enrique" userId="09b922dc-e301-4f7a-90fe-e924f95e94b9" providerId="ADAL" clId="{AAD99E02-1FAF-434B-BD74-F81CF4188FB5}" dt="2021-05-04T15:10:43.411" v="1539" actId="20577"/>
        <pc:sldMkLst>
          <pc:docMk/>
          <pc:sldMk cId="1733231172" sldId="430"/>
        </pc:sldMkLst>
        <pc:spChg chg="add mod">
          <ac:chgData name="Pinto Retamal, Rodrigo Enrique" userId="09b922dc-e301-4f7a-90fe-e924f95e94b9" providerId="ADAL" clId="{AAD99E02-1FAF-434B-BD74-F81CF4188FB5}" dt="2021-05-03T20:40:54.414" v="1243" actId="20577"/>
          <ac:spMkLst>
            <pc:docMk/>
            <pc:sldMk cId="1733231172" sldId="430"/>
            <ac:spMk id="8" creationId="{719B4BED-29FF-4C18-A30F-AFDAC625C0BB}"/>
          </ac:spMkLst>
        </pc:spChg>
        <pc:spChg chg="add mod">
          <ac:chgData name="Pinto Retamal, Rodrigo Enrique" userId="09b922dc-e301-4f7a-90fe-e924f95e94b9" providerId="ADAL" clId="{AAD99E02-1FAF-434B-BD74-F81CF4188FB5}" dt="2021-05-03T19:56:01.282" v="1108" actId="1035"/>
          <ac:spMkLst>
            <pc:docMk/>
            <pc:sldMk cId="1733231172" sldId="430"/>
            <ac:spMk id="9" creationId="{C2084136-8876-40A9-9C0B-685D4AD4625C}"/>
          </ac:spMkLst>
        </pc:spChg>
        <pc:spChg chg="add mod">
          <ac:chgData name="Pinto Retamal, Rodrigo Enrique" userId="09b922dc-e301-4f7a-90fe-e924f95e94b9" providerId="ADAL" clId="{AAD99E02-1FAF-434B-BD74-F81CF4188FB5}" dt="2021-05-03T20:41:15.375" v="1267" actId="20577"/>
          <ac:spMkLst>
            <pc:docMk/>
            <pc:sldMk cId="1733231172" sldId="430"/>
            <ac:spMk id="10" creationId="{F89F0313-F648-4D43-B75B-6DCE6D58E0AD}"/>
          </ac:spMkLst>
        </pc:spChg>
        <pc:spChg chg="add mod">
          <ac:chgData name="Pinto Retamal, Rodrigo Enrique" userId="09b922dc-e301-4f7a-90fe-e924f95e94b9" providerId="ADAL" clId="{AAD99E02-1FAF-434B-BD74-F81CF4188FB5}" dt="2021-05-03T19:56:01.282" v="1108" actId="1035"/>
          <ac:spMkLst>
            <pc:docMk/>
            <pc:sldMk cId="1733231172" sldId="430"/>
            <ac:spMk id="11" creationId="{024D9484-4062-47B5-9067-73205BD2523D}"/>
          </ac:spMkLst>
        </pc:spChg>
        <pc:spChg chg="add mod">
          <ac:chgData name="Pinto Retamal, Rodrigo Enrique" userId="09b922dc-e301-4f7a-90fe-e924f95e94b9" providerId="ADAL" clId="{AAD99E02-1FAF-434B-BD74-F81CF4188FB5}" dt="2021-05-03T19:56:01.282" v="1108" actId="1035"/>
          <ac:spMkLst>
            <pc:docMk/>
            <pc:sldMk cId="1733231172" sldId="430"/>
            <ac:spMk id="12" creationId="{29047771-3159-4F01-84C2-1F3987B51350}"/>
          </ac:spMkLst>
        </pc:spChg>
        <pc:spChg chg="add del mod">
          <ac:chgData name="Pinto Retamal, Rodrigo Enrique" userId="09b922dc-e301-4f7a-90fe-e924f95e94b9" providerId="ADAL" clId="{AAD99E02-1FAF-434B-BD74-F81CF4188FB5}" dt="2021-05-03T20:41:24.739" v="1268" actId="478"/>
          <ac:spMkLst>
            <pc:docMk/>
            <pc:sldMk cId="1733231172" sldId="430"/>
            <ac:spMk id="13" creationId="{7405E6E4-931D-4015-BFE3-C90781116202}"/>
          </ac:spMkLst>
        </pc:spChg>
        <pc:spChg chg="add mod">
          <ac:chgData name="Pinto Retamal, Rodrigo Enrique" userId="09b922dc-e301-4f7a-90fe-e924f95e94b9" providerId="ADAL" clId="{AAD99E02-1FAF-434B-BD74-F81CF4188FB5}" dt="2021-05-04T15:10:43.411" v="1539" actId="20577"/>
          <ac:spMkLst>
            <pc:docMk/>
            <pc:sldMk cId="1733231172" sldId="430"/>
            <ac:spMk id="14" creationId="{B66CF756-41ED-4794-A626-778F878A1018}"/>
          </ac:spMkLst>
        </pc:spChg>
        <pc:spChg chg="add mod">
          <ac:chgData name="Pinto Retamal, Rodrigo Enrique" userId="09b922dc-e301-4f7a-90fe-e924f95e94b9" providerId="ADAL" clId="{AAD99E02-1FAF-434B-BD74-F81CF4188FB5}" dt="2021-05-03T21:09:44.121" v="1363" actId="1076"/>
          <ac:spMkLst>
            <pc:docMk/>
            <pc:sldMk cId="1733231172" sldId="430"/>
            <ac:spMk id="15" creationId="{BD1CA831-9113-4F4D-92E2-20FF4A0F774C}"/>
          </ac:spMkLst>
        </pc:spChg>
        <pc:spChg chg="mod">
          <ac:chgData name="Pinto Retamal, Rodrigo Enrique" userId="09b922dc-e301-4f7a-90fe-e924f95e94b9" providerId="ADAL" clId="{AAD99E02-1FAF-434B-BD74-F81CF4188FB5}" dt="2021-05-03T20:39:59.692" v="1182" actId="20577"/>
          <ac:spMkLst>
            <pc:docMk/>
            <pc:sldMk cId="1733231172" sldId="430"/>
            <ac:spMk id="24" creationId="{42B9B605-B12F-6147-BFF4-BCAF18B25A68}"/>
          </ac:spMkLst>
        </pc:spChg>
        <pc:spChg chg="mod">
          <ac:chgData name="Pinto Retamal, Rodrigo Enrique" userId="09b922dc-e301-4f7a-90fe-e924f95e94b9" providerId="ADAL" clId="{AAD99E02-1FAF-434B-BD74-F81CF4188FB5}" dt="2021-05-04T15:10:39.831" v="1538" actId="20577"/>
          <ac:spMkLst>
            <pc:docMk/>
            <pc:sldMk cId="1733231172" sldId="430"/>
            <ac:spMk id="25" creationId="{895E7C57-E423-7444-A1F9-CACBB7D8C0FB}"/>
          </ac:spMkLst>
        </pc:spChg>
        <pc:picChg chg="del">
          <ac:chgData name="Pinto Retamal, Rodrigo Enrique" userId="09b922dc-e301-4f7a-90fe-e924f95e94b9" providerId="ADAL" clId="{AAD99E02-1FAF-434B-BD74-F81CF4188FB5}" dt="2021-05-03T19:55:26.687" v="1089" actId="478"/>
          <ac:picMkLst>
            <pc:docMk/>
            <pc:sldMk cId="1733231172" sldId="430"/>
            <ac:picMk id="7" creationId="{C358A7BB-F6C0-4C2B-B167-09857CE045D8}"/>
          </ac:picMkLst>
        </pc:picChg>
      </pc:sldChg>
      <pc:sldChg chg="addSp delSp modSp delAnim modAnim">
        <pc:chgData name="Pinto Retamal, Rodrigo Enrique" userId="09b922dc-e301-4f7a-90fe-e924f95e94b9" providerId="ADAL" clId="{AAD99E02-1FAF-434B-BD74-F81CF4188FB5}" dt="2021-05-04T19:52:06.972" v="4201" actId="20577"/>
        <pc:sldMkLst>
          <pc:docMk/>
          <pc:sldMk cId="829119846" sldId="431"/>
        </pc:sldMkLst>
        <pc:spChg chg="add mod">
          <ac:chgData name="Pinto Retamal, Rodrigo Enrique" userId="09b922dc-e301-4f7a-90fe-e924f95e94b9" providerId="ADAL" clId="{AAD99E02-1FAF-434B-BD74-F81CF4188FB5}" dt="2021-05-04T19:48:57.457" v="4000" actId="1037"/>
          <ac:spMkLst>
            <pc:docMk/>
            <pc:sldMk cId="829119846" sldId="431"/>
            <ac:spMk id="8" creationId="{8D00FF92-9138-42EF-8A4D-364A7879372A}"/>
          </ac:spMkLst>
        </pc:spChg>
        <pc:spChg chg="add mod">
          <ac:chgData name="Pinto Retamal, Rodrigo Enrique" userId="09b922dc-e301-4f7a-90fe-e924f95e94b9" providerId="ADAL" clId="{AAD99E02-1FAF-434B-BD74-F81CF4188FB5}" dt="2021-05-04T19:48:57.457" v="4000" actId="1037"/>
          <ac:spMkLst>
            <pc:docMk/>
            <pc:sldMk cId="829119846" sldId="431"/>
            <ac:spMk id="9" creationId="{C724A74C-33E5-4824-AE07-FD2E63857537}"/>
          </ac:spMkLst>
        </pc:spChg>
        <pc:spChg chg="add mod">
          <ac:chgData name="Pinto Retamal, Rodrigo Enrique" userId="09b922dc-e301-4f7a-90fe-e924f95e94b9" providerId="ADAL" clId="{AAD99E02-1FAF-434B-BD74-F81CF4188FB5}" dt="2021-05-04T19:48:57.457" v="4000" actId="1037"/>
          <ac:spMkLst>
            <pc:docMk/>
            <pc:sldMk cId="829119846" sldId="431"/>
            <ac:spMk id="10" creationId="{08CCF7F0-3D53-4DDB-831A-8B97EEB7A010}"/>
          </ac:spMkLst>
        </pc:spChg>
        <pc:spChg chg="add mod">
          <ac:chgData name="Pinto Retamal, Rodrigo Enrique" userId="09b922dc-e301-4f7a-90fe-e924f95e94b9" providerId="ADAL" clId="{AAD99E02-1FAF-434B-BD74-F81CF4188FB5}" dt="2021-05-04T19:49:05.967" v="4001" actId="255"/>
          <ac:spMkLst>
            <pc:docMk/>
            <pc:sldMk cId="829119846" sldId="431"/>
            <ac:spMk id="11" creationId="{0AC1AC26-ADA8-4734-8DA4-CAC79FE939F3}"/>
          </ac:spMkLst>
        </pc:spChg>
        <pc:spChg chg="add mod">
          <ac:chgData name="Pinto Retamal, Rodrigo Enrique" userId="09b922dc-e301-4f7a-90fe-e924f95e94b9" providerId="ADAL" clId="{AAD99E02-1FAF-434B-BD74-F81CF4188FB5}" dt="2021-05-04T19:52:06.972" v="4201" actId="20577"/>
          <ac:spMkLst>
            <pc:docMk/>
            <pc:sldMk cId="829119846" sldId="431"/>
            <ac:spMk id="13" creationId="{CBB81109-EFF9-491D-A66F-0A79CB665232}"/>
          </ac:spMkLst>
        </pc:spChg>
        <pc:spChg chg="mod">
          <ac:chgData name="Pinto Retamal, Rodrigo Enrique" userId="09b922dc-e301-4f7a-90fe-e924f95e94b9" providerId="ADAL" clId="{AAD99E02-1FAF-434B-BD74-F81CF4188FB5}" dt="2021-05-04T19:47:57.786" v="3928" actId="20577"/>
          <ac:spMkLst>
            <pc:docMk/>
            <pc:sldMk cId="829119846" sldId="431"/>
            <ac:spMk id="24" creationId="{42B9B605-B12F-6147-BFF4-BCAF18B25A68}"/>
          </ac:spMkLst>
        </pc:spChg>
        <pc:spChg chg="mod">
          <ac:chgData name="Pinto Retamal, Rodrigo Enrique" userId="09b922dc-e301-4f7a-90fe-e924f95e94b9" providerId="ADAL" clId="{AAD99E02-1FAF-434B-BD74-F81CF4188FB5}" dt="2021-05-04T19:48:07.788" v="3952" actId="20577"/>
          <ac:spMkLst>
            <pc:docMk/>
            <pc:sldMk cId="829119846" sldId="431"/>
            <ac:spMk id="25" creationId="{895E7C57-E423-7444-A1F9-CACBB7D8C0FB}"/>
          </ac:spMkLst>
        </pc:spChg>
        <pc:picChg chg="mod">
          <ac:chgData name="Pinto Retamal, Rodrigo Enrique" userId="09b922dc-e301-4f7a-90fe-e924f95e94b9" providerId="ADAL" clId="{AAD99E02-1FAF-434B-BD74-F81CF4188FB5}" dt="2021-05-04T19:49:14.229" v="4002" actId="1076"/>
          <ac:picMkLst>
            <pc:docMk/>
            <pc:sldMk cId="829119846" sldId="431"/>
            <ac:picMk id="12" creationId="{D0D302AE-5AB3-4CB9-9109-00D28D7970A2}"/>
          </ac:picMkLst>
        </pc:picChg>
        <pc:picChg chg="del">
          <ac:chgData name="Pinto Retamal, Rodrigo Enrique" userId="09b922dc-e301-4f7a-90fe-e924f95e94b9" providerId="ADAL" clId="{AAD99E02-1FAF-434B-BD74-F81CF4188FB5}" dt="2021-05-04T19:48:10.551" v="3953" actId="478"/>
          <ac:picMkLst>
            <pc:docMk/>
            <pc:sldMk cId="829119846" sldId="431"/>
            <ac:picMk id="19" creationId="{B9433203-72CE-466D-A7D3-B1994161DCF4}"/>
          </ac:picMkLst>
        </pc:picChg>
      </pc:sldChg>
      <pc:sldChg chg="del">
        <pc:chgData name="Pinto Retamal, Rodrigo Enrique" userId="09b922dc-e301-4f7a-90fe-e924f95e94b9" providerId="ADAL" clId="{AAD99E02-1FAF-434B-BD74-F81CF4188FB5}" dt="2021-05-04T20:08:01.888" v="4609" actId="2696"/>
        <pc:sldMkLst>
          <pc:docMk/>
          <pc:sldMk cId="1757372989" sldId="432"/>
        </pc:sldMkLst>
      </pc:sldChg>
      <pc:sldChg chg="del">
        <pc:chgData name="Pinto Retamal, Rodrigo Enrique" userId="09b922dc-e301-4f7a-90fe-e924f95e94b9" providerId="ADAL" clId="{AAD99E02-1FAF-434B-BD74-F81CF4188FB5}" dt="2021-05-04T20:08:05.282" v="4611" actId="2696"/>
        <pc:sldMkLst>
          <pc:docMk/>
          <pc:sldMk cId="2609923012" sldId="433"/>
        </pc:sldMkLst>
      </pc:sldChg>
      <pc:sldChg chg="modSp">
        <pc:chgData name="Pinto Retamal, Rodrigo Enrique" userId="09b922dc-e301-4f7a-90fe-e924f95e94b9" providerId="ADAL" clId="{AAD99E02-1FAF-434B-BD74-F81CF4188FB5}" dt="2021-05-03T18:48:15.298" v="431" actId="20577"/>
        <pc:sldMkLst>
          <pc:docMk/>
          <pc:sldMk cId="4228193878" sldId="434"/>
        </pc:sldMkLst>
        <pc:spChg chg="mod">
          <ac:chgData name="Pinto Retamal, Rodrigo Enrique" userId="09b922dc-e301-4f7a-90fe-e924f95e94b9" providerId="ADAL" clId="{AAD99E02-1FAF-434B-BD74-F81CF4188FB5}" dt="2021-05-03T18:48:15.298" v="431" actId="20577"/>
          <ac:spMkLst>
            <pc:docMk/>
            <pc:sldMk cId="4228193878" sldId="434"/>
            <ac:spMk id="25" creationId="{895E7C57-E423-7444-A1F9-CACBB7D8C0FB}"/>
          </ac:spMkLst>
        </pc:spChg>
      </pc:sldChg>
      <pc:sldChg chg="del">
        <pc:chgData name="Pinto Retamal, Rodrigo Enrique" userId="09b922dc-e301-4f7a-90fe-e924f95e94b9" providerId="ADAL" clId="{AAD99E02-1FAF-434B-BD74-F81CF4188FB5}" dt="2021-05-04T20:08:05.290" v="4612" actId="2696"/>
        <pc:sldMkLst>
          <pc:docMk/>
          <pc:sldMk cId="890215944" sldId="435"/>
        </pc:sldMkLst>
      </pc:sldChg>
      <pc:sldChg chg="del">
        <pc:chgData name="Pinto Retamal, Rodrigo Enrique" userId="09b922dc-e301-4f7a-90fe-e924f95e94b9" providerId="ADAL" clId="{AAD99E02-1FAF-434B-BD74-F81CF4188FB5}" dt="2021-05-04T20:08:12.025" v="4614" actId="2696"/>
        <pc:sldMkLst>
          <pc:docMk/>
          <pc:sldMk cId="4219623757" sldId="436"/>
        </pc:sldMkLst>
      </pc:sldChg>
      <pc:sldChg chg="del">
        <pc:chgData name="Pinto Retamal, Rodrigo Enrique" userId="09b922dc-e301-4f7a-90fe-e924f95e94b9" providerId="ADAL" clId="{AAD99E02-1FAF-434B-BD74-F81CF4188FB5}" dt="2021-05-04T20:08:11.996" v="4613" actId="2696"/>
        <pc:sldMkLst>
          <pc:docMk/>
          <pc:sldMk cId="1924084624" sldId="437"/>
        </pc:sldMkLst>
      </pc:sldChg>
      <pc:sldChg chg="del">
        <pc:chgData name="Pinto Retamal, Rodrigo Enrique" userId="09b922dc-e301-4f7a-90fe-e924f95e94b9" providerId="ADAL" clId="{AAD99E02-1FAF-434B-BD74-F81CF4188FB5}" dt="2021-05-04T20:08:01.895" v="4610" actId="2696"/>
        <pc:sldMkLst>
          <pc:docMk/>
          <pc:sldMk cId="258524787" sldId="438"/>
        </pc:sldMkLst>
      </pc:sldChg>
      <pc:sldChg chg="addSp delSp modSp add">
        <pc:chgData name="Pinto Retamal, Rodrigo Enrique" userId="09b922dc-e301-4f7a-90fe-e924f95e94b9" providerId="ADAL" clId="{AAD99E02-1FAF-434B-BD74-F81CF4188FB5}" dt="2021-05-03T18:46:52.511" v="383" actId="1076"/>
        <pc:sldMkLst>
          <pc:docMk/>
          <pc:sldMk cId="1649802328" sldId="439"/>
        </pc:sldMkLst>
        <pc:spChg chg="add del mod">
          <ac:chgData name="Pinto Retamal, Rodrigo Enrique" userId="09b922dc-e301-4f7a-90fe-e924f95e94b9" providerId="ADAL" clId="{AAD99E02-1FAF-434B-BD74-F81CF4188FB5}" dt="2021-05-03T18:43:46.500" v="237" actId="478"/>
          <ac:spMkLst>
            <pc:docMk/>
            <pc:sldMk cId="1649802328" sldId="439"/>
            <ac:spMk id="4" creationId="{6378A184-5F8F-4E9B-996D-42A7D6174F0B}"/>
          </ac:spMkLst>
        </pc:spChg>
        <pc:spChg chg="add mod">
          <ac:chgData name="Pinto Retamal, Rodrigo Enrique" userId="09b922dc-e301-4f7a-90fe-e924f95e94b9" providerId="ADAL" clId="{AAD99E02-1FAF-434B-BD74-F81CF4188FB5}" dt="2021-05-03T18:45:46.921" v="379" actId="1076"/>
          <ac:spMkLst>
            <pc:docMk/>
            <pc:sldMk cId="1649802328" sldId="439"/>
            <ac:spMk id="9" creationId="{8412DEC0-6220-4087-BE44-8FE6B251A6C3}"/>
          </ac:spMkLst>
        </pc:spChg>
        <pc:spChg chg="del">
          <ac:chgData name="Pinto Retamal, Rodrigo Enrique" userId="09b922dc-e301-4f7a-90fe-e924f95e94b9" providerId="ADAL" clId="{AAD99E02-1FAF-434B-BD74-F81CF4188FB5}" dt="2021-05-03T18:43:44.598" v="236" actId="478"/>
          <ac:spMkLst>
            <pc:docMk/>
            <pc:sldMk cId="1649802328" sldId="439"/>
            <ac:spMk id="10" creationId="{188F7E02-E3B0-E243-B6C7-271683C98156}"/>
          </ac:spMkLst>
        </pc:spChg>
        <pc:spChg chg="add del">
          <ac:chgData name="Pinto Retamal, Rodrigo Enrique" userId="09b922dc-e301-4f7a-90fe-e924f95e94b9" providerId="ADAL" clId="{AAD99E02-1FAF-434B-BD74-F81CF4188FB5}" dt="2021-05-03T18:46:45.692" v="381"/>
          <ac:spMkLst>
            <pc:docMk/>
            <pc:sldMk cId="1649802328" sldId="439"/>
            <ac:spMk id="13" creationId="{60DAE09D-E2D4-4E78-A8C0-66D416723E1C}"/>
          </ac:spMkLst>
        </pc:spChg>
        <pc:spChg chg="add mod">
          <ac:chgData name="Pinto Retamal, Rodrigo Enrique" userId="09b922dc-e301-4f7a-90fe-e924f95e94b9" providerId="ADAL" clId="{AAD99E02-1FAF-434B-BD74-F81CF4188FB5}" dt="2021-05-03T18:46:52.511" v="383" actId="1076"/>
          <ac:spMkLst>
            <pc:docMk/>
            <pc:sldMk cId="1649802328" sldId="439"/>
            <ac:spMk id="14" creationId="{803BE3BB-C7F3-41C9-A3F3-700423CF2EEA}"/>
          </ac:spMkLst>
        </pc:spChg>
        <pc:spChg chg="mod">
          <ac:chgData name="Pinto Retamal, Rodrigo Enrique" userId="09b922dc-e301-4f7a-90fe-e924f95e94b9" providerId="ADAL" clId="{AAD99E02-1FAF-434B-BD74-F81CF4188FB5}" dt="2021-05-03T18:45:39.816" v="378" actId="20577"/>
          <ac:spMkLst>
            <pc:docMk/>
            <pc:sldMk cId="1649802328" sldId="439"/>
            <ac:spMk id="25" creationId="{895E7C57-E423-7444-A1F9-CACBB7D8C0FB}"/>
          </ac:spMkLst>
        </pc:spChg>
        <pc:graphicFrameChg chg="add mod">
          <ac:chgData name="Pinto Retamal, Rodrigo Enrique" userId="09b922dc-e301-4f7a-90fe-e924f95e94b9" providerId="ADAL" clId="{AAD99E02-1FAF-434B-BD74-F81CF4188FB5}" dt="2021-05-03T18:44:34.473" v="314" actId="1035"/>
          <ac:graphicFrameMkLst>
            <pc:docMk/>
            <pc:sldMk cId="1649802328" sldId="439"/>
            <ac:graphicFrameMk id="11" creationId="{A1DC50E3-495F-4471-87A8-2EAE6FA3716E}"/>
          </ac:graphicFrameMkLst>
        </pc:graphicFrameChg>
        <pc:picChg chg="add mod">
          <ac:chgData name="Pinto Retamal, Rodrigo Enrique" userId="09b922dc-e301-4f7a-90fe-e924f95e94b9" providerId="ADAL" clId="{AAD99E02-1FAF-434B-BD74-F81CF4188FB5}" dt="2021-05-03T18:45:06.504" v="316" actId="1076"/>
          <ac:picMkLst>
            <pc:docMk/>
            <pc:sldMk cId="1649802328" sldId="439"/>
            <ac:picMk id="12" creationId="{F90F894F-A98E-42DA-88C5-D054B8E5C77F}"/>
          </ac:picMkLst>
        </pc:picChg>
      </pc:sldChg>
      <pc:sldChg chg="addSp delSp modSp add modAnim">
        <pc:chgData name="Pinto Retamal, Rodrigo Enrique" userId="09b922dc-e301-4f7a-90fe-e924f95e94b9" providerId="ADAL" clId="{AAD99E02-1FAF-434B-BD74-F81CF4188FB5}" dt="2021-05-03T19:32:59.733" v="555" actId="20577"/>
        <pc:sldMkLst>
          <pc:docMk/>
          <pc:sldMk cId="3304971570" sldId="440"/>
        </pc:sldMkLst>
        <pc:spChg chg="add">
          <ac:chgData name="Pinto Retamal, Rodrigo Enrique" userId="09b922dc-e301-4f7a-90fe-e924f95e94b9" providerId="ADAL" clId="{AAD99E02-1FAF-434B-BD74-F81CF4188FB5}" dt="2021-05-03T19:32:46.957" v="538"/>
          <ac:spMkLst>
            <pc:docMk/>
            <pc:sldMk cId="3304971570" sldId="440"/>
            <ac:spMk id="9" creationId="{F8DC9DC6-FB8F-49B2-B5C4-96EB5765C63A}"/>
          </ac:spMkLst>
        </pc:spChg>
        <pc:spChg chg="add">
          <ac:chgData name="Pinto Retamal, Rodrigo Enrique" userId="09b922dc-e301-4f7a-90fe-e924f95e94b9" providerId="ADAL" clId="{AAD99E02-1FAF-434B-BD74-F81CF4188FB5}" dt="2021-05-03T19:32:46.957" v="538"/>
          <ac:spMkLst>
            <pc:docMk/>
            <pc:sldMk cId="3304971570" sldId="440"/>
            <ac:spMk id="10" creationId="{3E3A9376-5E9E-4755-9D4D-CCECD1AA1545}"/>
          </ac:spMkLst>
        </pc:spChg>
        <pc:spChg chg="add">
          <ac:chgData name="Pinto Retamal, Rodrigo Enrique" userId="09b922dc-e301-4f7a-90fe-e924f95e94b9" providerId="ADAL" clId="{AAD99E02-1FAF-434B-BD74-F81CF4188FB5}" dt="2021-05-03T19:32:46.957" v="538"/>
          <ac:spMkLst>
            <pc:docMk/>
            <pc:sldMk cId="3304971570" sldId="440"/>
            <ac:spMk id="11" creationId="{CDFA4D6E-B3BF-45AD-A75D-3DE282586D89}"/>
          </ac:spMkLst>
        </pc:spChg>
        <pc:spChg chg="add">
          <ac:chgData name="Pinto Retamal, Rodrigo Enrique" userId="09b922dc-e301-4f7a-90fe-e924f95e94b9" providerId="ADAL" clId="{AAD99E02-1FAF-434B-BD74-F81CF4188FB5}" dt="2021-05-03T19:32:46.957" v="538"/>
          <ac:spMkLst>
            <pc:docMk/>
            <pc:sldMk cId="3304971570" sldId="440"/>
            <ac:spMk id="12" creationId="{F6D0EF81-F7F8-4AE2-BF06-BC4DE3D55532}"/>
          </ac:spMkLst>
        </pc:spChg>
        <pc:spChg chg="del">
          <ac:chgData name="Pinto Retamal, Rodrigo Enrique" userId="09b922dc-e301-4f7a-90fe-e924f95e94b9" providerId="ADAL" clId="{AAD99E02-1FAF-434B-BD74-F81CF4188FB5}" dt="2021-05-03T19:31:55.292" v="535" actId="478"/>
          <ac:spMkLst>
            <pc:docMk/>
            <pc:sldMk cId="3304971570" sldId="440"/>
            <ac:spMk id="13" creationId="{15038F41-C836-4F36-BC64-0D2E126A3B1D}"/>
          </ac:spMkLst>
        </pc:spChg>
        <pc:spChg chg="del">
          <ac:chgData name="Pinto Retamal, Rodrigo Enrique" userId="09b922dc-e301-4f7a-90fe-e924f95e94b9" providerId="ADAL" clId="{AAD99E02-1FAF-434B-BD74-F81CF4188FB5}" dt="2021-05-03T19:31:58.210" v="536" actId="478"/>
          <ac:spMkLst>
            <pc:docMk/>
            <pc:sldMk cId="3304971570" sldId="440"/>
            <ac:spMk id="14" creationId="{7D9320BD-E045-4AFC-B3B3-C1444F0C6604}"/>
          </ac:spMkLst>
        </pc:spChg>
        <pc:spChg chg="add">
          <ac:chgData name="Pinto Retamal, Rodrigo Enrique" userId="09b922dc-e301-4f7a-90fe-e924f95e94b9" providerId="ADAL" clId="{AAD99E02-1FAF-434B-BD74-F81CF4188FB5}" dt="2021-05-03T19:32:46.957" v="538"/>
          <ac:spMkLst>
            <pc:docMk/>
            <pc:sldMk cId="3304971570" sldId="440"/>
            <ac:spMk id="21" creationId="{3482C68A-7FBB-4043-B069-72D24912CABC}"/>
          </ac:spMkLst>
        </pc:spChg>
        <pc:spChg chg="mod">
          <ac:chgData name="Pinto Retamal, Rodrigo Enrique" userId="09b922dc-e301-4f7a-90fe-e924f95e94b9" providerId="ADAL" clId="{AAD99E02-1FAF-434B-BD74-F81CF4188FB5}" dt="2021-05-03T19:32:59.733" v="555" actId="20577"/>
          <ac:spMkLst>
            <pc:docMk/>
            <pc:sldMk cId="3304971570" sldId="440"/>
            <ac:spMk id="25" creationId="{895E7C57-E423-7444-A1F9-CACBB7D8C0FB}"/>
          </ac:spMkLst>
        </pc:spChg>
        <pc:grpChg chg="add">
          <ac:chgData name="Pinto Retamal, Rodrigo Enrique" userId="09b922dc-e301-4f7a-90fe-e924f95e94b9" providerId="ADAL" clId="{AAD99E02-1FAF-434B-BD74-F81CF4188FB5}" dt="2021-05-03T19:32:46.957" v="538"/>
          <ac:grpSpMkLst>
            <pc:docMk/>
            <pc:sldMk cId="3304971570" sldId="440"/>
            <ac:grpSpMk id="15" creationId="{2A94FBA5-298F-4B60-A985-20F6F76EF673}"/>
          </ac:grpSpMkLst>
        </pc:grpChg>
        <pc:grpChg chg="add">
          <ac:chgData name="Pinto Retamal, Rodrigo Enrique" userId="09b922dc-e301-4f7a-90fe-e924f95e94b9" providerId="ADAL" clId="{AAD99E02-1FAF-434B-BD74-F81CF4188FB5}" dt="2021-05-03T19:32:46.957" v="538"/>
          <ac:grpSpMkLst>
            <pc:docMk/>
            <pc:sldMk cId="3304971570" sldId="440"/>
            <ac:grpSpMk id="22" creationId="{CEB92600-00C8-475D-9ED1-1666EB93853C}"/>
          </ac:grpSpMkLst>
        </pc:grpChg>
        <pc:grpChg chg="add">
          <ac:chgData name="Pinto Retamal, Rodrigo Enrique" userId="09b922dc-e301-4f7a-90fe-e924f95e94b9" providerId="ADAL" clId="{AAD99E02-1FAF-434B-BD74-F81CF4188FB5}" dt="2021-05-03T19:32:46.957" v="538"/>
          <ac:grpSpMkLst>
            <pc:docMk/>
            <pc:sldMk cId="3304971570" sldId="440"/>
            <ac:grpSpMk id="29" creationId="{C42C495F-9029-4EBB-B8E9-BDA529AAC040}"/>
          </ac:grpSpMkLst>
        </pc:grpChg>
        <pc:picChg chg="del">
          <ac:chgData name="Pinto Retamal, Rodrigo Enrique" userId="09b922dc-e301-4f7a-90fe-e924f95e94b9" providerId="ADAL" clId="{AAD99E02-1FAF-434B-BD74-F81CF4188FB5}" dt="2021-05-03T19:32:00.352" v="537" actId="478"/>
          <ac:picMkLst>
            <pc:docMk/>
            <pc:sldMk cId="3304971570" sldId="440"/>
            <ac:picMk id="16" creationId="{9CCAA173-372C-4465-9333-6147A68E6686}"/>
          </ac:picMkLst>
        </pc:picChg>
      </pc:sldChg>
      <pc:sldChg chg="addSp modSp add">
        <pc:chgData name="Pinto Retamal, Rodrigo Enrique" userId="09b922dc-e301-4f7a-90fe-e924f95e94b9" providerId="ADAL" clId="{AAD99E02-1FAF-434B-BD74-F81CF4188FB5}" dt="2021-05-03T19:51:19.079" v="1087" actId="113"/>
        <pc:sldMkLst>
          <pc:docMk/>
          <pc:sldMk cId="3268781116" sldId="656"/>
        </pc:sldMkLst>
        <pc:spChg chg="add mod">
          <ac:chgData name="Pinto Retamal, Rodrigo Enrique" userId="09b922dc-e301-4f7a-90fe-e924f95e94b9" providerId="ADAL" clId="{AAD99E02-1FAF-434B-BD74-F81CF4188FB5}" dt="2021-05-03T19:51:19.079" v="1087" actId="113"/>
          <ac:spMkLst>
            <pc:docMk/>
            <pc:sldMk cId="3268781116" sldId="656"/>
            <ac:spMk id="3" creationId="{8CF5EB47-B28C-436A-96FD-6099F16C439D}"/>
          </ac:spMkLst>
        </pc:spChg>
        <pc:picChg chg="mod">
          <ac:chgData name="Pinto Retamal, Rodrigo Enrique" userId="09b922dc-e301-4f7a-90fe-e924f95e94b9" providerId="ADAL" clId="{AAD99E02-1FAF-434B-BD74-F81CF4188FB5}" dt="2021-05-03T19:47:27.601" v="702" actId="1076"/>
          <ac:picMkLst>
            <pc:docMk/>
            <pc:sldMk cId="3268781116" sldId="656"/>
            <ac:picMk id="2" creationId="{00000000-0000-0000-0000-000000000000}"/>
          </ac:picMkLst>
        </pc:picChg>
      </pc:sldChg>
      <pc:sldChg chg="addSp delSp modSp add delAnim modAnim">
        <pc:chgData name="Pinto Retamal, Rodrigo Enrique" userId="09b922dc-e301-4f7a-90fe-e924f95e94b9" providerId="ADAL" clId="{AAD99E02-1FAF-434B-BD74-F81CF4188FB5}" dt="2021-05-04T15:17:49.161" v="1780" actId="1076"/>
        <pc:sldMkLst>
          <pc:docMk/>
          <pc:sldMk cId="2430620837" sldId="657"/>
        </pc:sldMkLst>
        <pc:spChg chg="del">
          <ac:chgData name="Pinto Retamal, Rodrigo Enrique" userId="09b922dc-e301-4f7a-90fe-e924f95e94b9" providerId="ADAL" clId="{AAD99E02-1FAF-434B-BD74-F81CF4188FB5}" dt="2021-05-03T21:19:02.368" v="1518" actId="478"/>
          <ac:spMkLst>
            <pc:docMk/>
            <pc:sldMk cId="2430620837" sldId="657"/>
            <ac:spMk id="7" creationId="{16EB8560-29B8-4116-9CCF-015DFD780636}"/>
          </ac:spMkLst>
        </pc:spChg>
        <pc:spChg chg="del">
          <ac:chgData name="Pinto Retamal, Rodrigo Enrique" userId="09b922dc-e301-4f7a-90fe-e924f95e94b9" providerId="ADAL" clId="{AAD99E02-1FAF-434B-BD74-F81CF4188FB5}" dt="2021-05-03T21:19:02.368" v="1518" actId="478"/>
          <ac:spMkLst>
            <pc:docMk/>
            <pc:sldMk cId="2430620837" sldId="657"/>
            <ac:spMk id="8" creationId="{7CC0FC2C-1634-4F45-9F12-6FE4C29E4C4D}"/>
          </ac:spMkLst>
        </pc:spChg>
        <pc:spChg chg="del">
          <ac:chgData name="Pinto Retamal, Rodrigo Enrique" userId="09b922dc-e301-4f7a-90fe-e924f95e94b9" providerId="ADAL" clId="{AAD99E02-1FAF-434B-BD74-F81CF4188FB5}" dt="2021-05-03T21:19:02.368" v="1518" actId="478"/>
          <ac:spMkLst>
            <pc:docMk/>
            <pc:sldMk cId="2430620837" sldId="657"/>
            <ac:spMk id="9" creationId="{5174DBCE-2CF8-4F0D-813D-4E0741915F67}"/>
          </ac:spMkLst>
        </pc:spChg>
        <pc:spChg chg="del">
          <ac:chgData name="Pinto Retamal, Rodrigo Enrique" userId="09b922dc-e301-4f7a-90fe-e924f95e94b9" providerId="ADAL" clId="{AAD99E02-1FAF-434B-BD74-F81CF4188FB5}" dt="2021-05-03T21:19:02.368" v="1518" actId="478"/>
          <ac:spMkLst>
            <pc:docMk/>
            <pc:sldMk cId="2430620837" sldId="657"/>
            <ac:spMk id="11" creationId="{95035C58-A721-4A56-95F0-1FE0F23487D6}"/>
          </ac:spMkLst>
        </pc:spChg>
        <pc:spChg chg="del">
          <ac:chgData name="Pinto Retamal, Rodrigo Enrique" userId="09b922dc-e301-4f7a-90fe-e924f95e94b9" providerId="ADAL" clId="{AAD99E02-1FAF-434B-BD74-F81CF4188FB5}" dt="2021-05-03T21:19:02.368" v="1518" actId="478"/>
          <ac:spMkLst>
            <pc:docMk/>
            <pc:sldMk cId="2430620837" sldId="657"/>
            <ac:spMk id="12" creationId="{1043BA0D-CF30-4618-AABE-B5D61F86C316}"/>
          </ac:spMkLst>
        </pc:spChg>
        <pc:spChg chg="del">
          <ac:chgData name="Pinto Retamal, Rodrigo Enrique" userId="09b922dc-e301-4f7a-90fe-e924f95e94b9" providerId="ADAL" clId="{AAD99E02-1FAF-434B-BD74-F81CF4188FB5}" dt="2021-05-03T21:19:02.368" v="1518" actId="478"/>
          <ac:spMkLst>
            <pc:docMk/>
            <pc:sldMk cId="2430620837" sldId="657"/>
            <ac:spMk id="13" creationId="{3828BB86-F0EC-4CF2-9F23-5AF0D4F078C0}"/>
          </ac:spMkLst>
        </pc:spChg>
        <pc:spChg chg="del">
          <ac:chgData name="Pinto Retamal, Rodrigo Enrique" userId="09b922dc-e301-4f7a-90fe-e924f95e94b9" providerId="ADAL" clId="{AAD99E02-1FAF-434B-BD74-F81CF4188FB5}" dt="2021-05-03T21:19:02.368" v="1518" actId="478"/>
          <ac:spMkLst>
            <pc:docMk/>
            <pc:sldMk cId="2430620837" sldId="657"/>
            <ac:spMk id="14" creationId="{1A5518C1-D8B5-478F-B807-8D7CEB4AFAAF}"/>
          </ac:spMkLst>
        </pc:spChg>
        <pc:spChg chg="del">
          <ac:chgData name="Pinto Retamal, Rodrigo Enrique" userId="09b922dc-e301-4f7a-90fe-e924f95e94b9" providerId="ADAL" clId="{AAD99E02-1FAF-434B-BD74-F81CF4188FB5}" dt="2021-05-03T21:19:02.368" v="1518" actId="478"/>
          <ac:spMkLst>
            <pc:docMk/>
            <pc:sldMk cId="2430620837" sldId="657"/>
            <ac:spMk id="15" creationId="{6F23A892-FF67-4C1D-A5C8-D58618642F40}"/>
          </ac:spMkLst>
        </pc:spChg>
        <pc:spChg chg="mod">
          <ac:chgData name="Pinto Retamal, Rodrigo Enrique" userId="09b922dc-e301-4f7a-90fe-e924f95e94b9" providerId="ADAL" clId="{AAD99E02-1FAF-434B-BD74-F81CF4188FB5}" dt="2021-05-03T21:18:55.839" v="1517" actId="20577"/>
          <ac:spMkLst>
            <pc:docMk/>
            <pc:sldMk cId="2430620837" sldId="657"/>
            <ac:spMk id="25" creationId="{895E7C57-E423-7444-A1F9-CACBB7D8C0FB}"/>
          </ac:spMkLst>
        </pc:spChg>
        <pc:spChg chg="del">
          <ac:chgData name="Pinto Retamal, Rodrigo Enrique" userId="09b922dc-e301-4f7a-90fe-e924f95e94b9" providerId="ADAL" clId="{AAD99E02-1FAF-434B-BD74-F81CF4188FB5}" dt="2021-05-03T21:19:02.368" v="1518" actId="478"/>
          <ac:spMkLst>
            <pc:docMk/>
            <pc:sldMk cId="2430620837" sldId="657"/>
            <ac:spMk id="27" creationId="{EF3F46A0-9780-4B3B-9203-2F74B592BA1D}"/>
          </ac:spMkLst>
        </pc:spChg>
        <pc:spChg chg="add mod">
          <ac:chgData name="Pinto Retamal, Rodrigo Enrique" userId="09b922dc-e301-4f7a-90fe-e924f95e94b9" providerId="ADAL" clId="{AAD99E02-1FAF-434B-BD74-F81CF4188FB5}" dt="2021-05-03T21:20:25.203" v="1521" actId="207"/>
          <ac:spMkLst>
            <pc:docMk/>
            <pc:sldMk cId="2430620837" sldId="657"/>
            <ac:spMk id="34" creationId="{FAD1E0F6-063F-4618-B9DD-EAA16F3723F4}"/>
          </ac:spMkLst>
        </pc:spChg>
        <pc:spChg chg="add">
          <ac:chgData name="Pinto Retamal, Rodrigo Enrique" userId="09b922dc-e301-4f7a-90fe-e924f95e94b9" providerId="ADAL" clId="{AAD99E02-1FAF-434B-BD74-F81CF4188FB5}" dt="2021-05-03T21:19:17.559" v="1520"/>
          <ac:spMkLst>
            <pc:docMk/>
            <pc:sldMk cId="2430620837" sldId="657"/>
            <ac:spMk id="35" creationId="{3E9805E6-1B2C-4CC4-8293-94E5C7EF531B}"/>
          </ac:spMkLst>
        </pc:spChg>
        <pc:spChg chg="add">
          <ac:chgData name="Pinto Retamal, Rodrigo Enrique" userId="09b922dc-e301-4f7a-90fe-e924f95e94b9" providerId="ADAL" clId="{AAD99E02-1FAF-434B-BD74-F81CF4188FB5}" dt="2021-05-03T21:19:17.559" v="1520"/>
          <ac:spMkLst>
            <pc:docMk/>
            <pc:sldMk cId="2430620837" sldId="657"/>
            <ac:spMk id="36" creationId="{D749D816-7D24-4D57-94C0-9FB1CD278D49}"/>
          </ac:spMkLst>
        </pc:spChg>
        <pc:spChg chg="add">
          <ac:chgData name="Pinto Retamal, Rodrigo Enrique" userId="09b922dc-e301-4f7a-90fe-e924f95e94b9" providerId="ADAL" clId="{AAD99E02-1FAF-434B-BD74-F81CF4188FB5}" dt="2021-05-03T21:19:17.559" v="1520"/>
          <ac:spMkLst>
            <pc:docMk/>
            <pc:sldMk cId="2430620837" sldId="657"/>
            <ac:spMk id="37" creationId="{65412C40-84DB-4B62-BB5E-3AD8F300C66C}"/>
          </ac:spMkLst>
        </pc:spChg>
        <pc:spChg chg="add">
          <ac:chgData name="Pinto Retamal, Rodrigo Enrique" userId="09b922dc-e301-4f7a-90fe-e924f95e94b9" providerId="ADAL" clId="{AAD99E02-1FAF-434B-BD74-F81CF4188FB5}" dt="2021-05-03T21:19:17.559" v="1520"/>
          <ac:spMkLst>
            <pc:docMk/>
            <pc:sldMk cId="2430620837" sldId="657"/>
            <ac:spMk id="38" creationId="{545B56B5-39E4-47F4-99BE-0C5BD571A6E4}"/>
          </ac:spMkLst>
        </pc:spChg>
        <pc:spChg chg="add">
          <ac:chgData name="Pinto Retamal, Rodrigo Enrique" userId="09b922dc-e301-4f7a-90fe-e924f95e94b9" providerId="ADAL" clId="{AAD99E02-1FAF-434B-BD74-F81CF4188FB5}" dt="2021-05-03T21:19:17.559" v="1520"/>
          <ac:spMkLst>
            <pc:docMk/>
            <pc:sldMk cId="2430620837" sldId="657"/>
            <ac:spMk id="39" creationId="{9BFEE82F-A400-4158-A5C6-20931A7E6C9D}"/>
          </ac:spMkLst>
        </pc:spChg>
        <pc:spChg chg="add mod">
          <ac:chgData name="Pinto Retamal, Rodrigo Enrique" userId="09b922dc-e301-4f7a-90fe-e924f95e94b9" providerId="ADAL" clId="{AAD99E02-1FAF-434B-BD74-F81CF4188FB5}" dt="2021-05-04T15:17:49.161" v="1780" actId="1076"/>
          <ac:spMkLst>
            <pc:docMk/>
            <pc:sldMk cId="2430620837" sldId="657"/>
            <ac:spMk id="45" creationId="{A2387F21-99EE-4CB1-8F03-41F198514C41}"/>
          </ac:spMkLst>
        </pc:spChg>
        <pc:picChg chg="del">
          <ac:chgData name="Pinto Retamal, Rodrigo Enrique" userId="09b922dc-e301-4f7a-90fe-e924f95e94b9" providerId="ADAL" clId="{AAD99E02-1FAF-434B-BD74-F81CF4188FB5}" dt="2021-05-03T21:19:02.368" v="1518" actId="478"/>
          <ac:picMkLst>
            <pc:docMk/>
            <pc:sldMk cId="2430620837" sldId="657"/>
            <ac:picMk id="16" creationId="{085D748E-1672-48E6-9378-75D90E66A0CD}"/>
          </ac:picMkLst>
        </pc:picChg>
        <pc:picChg chg="del">
          <ac:chgData name="Pinto Retamal, Rodrigo Enrique" userId="09b922dc-e301-4f7a-90fe-e924f95e94b9" providerId="ADAL" clId="{AAD99E02-1FAF-434B-BD74-F81CF4188FB5}" dt="2021-05-03T21:19:02.368" v="1518" actId="478"/>
          <ac:picMkLst>
            <pc:docMk/>
            <pc:sldMk cId="2430620837" sldId="657"/>
            <ac:picMk id="17" creationId="{516401B5-00C5-4F67-82A6-A45FF2FA57FA}"/>
          </ac:picMkLst>
        </pc:picChg>
        <pc:picChg chg="del">
          <ac:chgData name="Pinto Retamal, Rodrigo Enrique" userId="09b922dc-e301-4f7a-90fe-e924f95e94b9" providerId="ADAL" clId="{AAD99E02-1FAF-434B-BD74-F81CF4188FB5}" dt="2021-05-03T21:19:02.368" v="1518" actId="478"/>
          <ac:picMkLst>
            <pc:docMk/>
            <pc:sldMk cId="2430620837" sldId="657"/>
            <ac:picMk id="18" creationId="{0939D85E-8B28-4D94-B03B-64365C7DE3EC}"/>
          </ac:picMkLst>
        </pc:picChg>
        <pc:picChg chg="del">
          <ac:chgData name="Pinto Retamal, Rodrigo Enrique" userId="09b922dc-e301-4f7a-90fe-e924f95e94b9" providerId="ADAL" clId="{AAD99E02-1FAF-434B-BD74-F81CF4188FB5}" dt="2021-05-03T21:19:02.368" v="1518" actId="478"/>
          <ac:picMkLst>
            <pc:docMk/>
            <pc:sldMk cId="2430620837" sldId="657"/>
            <ac:picMk id="19" creationId="{4E5AABD0-0E26-428A-B8BB-5B5EE5494D48}"/>
          </ac:picMkLst>
        </pc:picChg>
        <pc:picChg chg="del">
          <ac:chgData name="Pinto Retamal, Rodrigo Enrique" userId="09b922dc-e301-4f7a-90fe-e924f95e94b9" providerId="ADAL" clId="{AAD99E02-1FAF-434B-BD74-F81CF4188FB5}" dt="2021-05-03T21:19:02.368" v="1518" actId="478"/>
          <ac:picMkLst>
            <pc:docMk/>
            <pc:sldMk cId="2430620837" sldId="657"/>
            <ac:picMk id="20" creationId="{7FB48E2E-09CA-45CF-BEB6-27AE85CE2DA0}"/>
          </ac:picMkLst>
        </pc:picChg>
        <pc:picChg chg="del">
          <ac:chgData name="Pinto Retamal, Rodrigo Enrique" userId="09b922dc-e301-4f7a-90fe-e924f95e94b9" providerId="ADAL" clId="{AAD99E02-1FAF-434B-BD74-F81CF4188FB5}" dt="2021-05-03T21:19:02.368" v="1518" actId="478"/>
          <ac:picMkLst>
            <pc:docMk/>
            <pc:sldMk cId="2430620837" sldId="657"/>
            <ac:picMk id="21" creationId="{471715FE-8D30-44D9-ABEF-293B7B56D34E}"/>
          </ac:picMkLst>
        </pc:picChg>
        <pc:picChg chg="del">
          <ac:chgData name="Pinto Retamal, Rodrigo Enrique" userId="09b922dc-e301-4f7a-90fe-e924f95e94b9" providerId="ADAL" clId="{AAD99E02-1FAF-434B-BD74-F81CF4188FB5}" dt="2021-05-03T21:19:02.368" v="1518" actId="478"/>
          <ac:picMkLst>
            <pc:docMk/>
            <pc:sldMk cId="2430620837" sldId="657"/>
            <ac:picMk id="22" creationId="{85789DDB-BEE5-47B1-9D08-62BD5468850E}"/>
          </ac:picMkLst>
        </pc:picChg>
        <pc:picChg chg="del">
          <ac:chgData name="Pinto Retamal, Rodrigo Enrique" userId="09b922dc-e301-4f7a-90fe-e924f95e94b9" providerId="ADAL" clId="{AAD99E02-1FAF-434B-BD74-F81CF4188FB5}" dt="2021-05-03T21:19:02.368" v="1518" actId="478"/>
          <ac:picMkLst>
            <pc:docMk/>
            <pc:sldMk cId="2430620837" sldId="657"/>
            <ac:picMk id="23" creationId="{0A699AE6-AC61-485C-9040-64CDAC8D6DAE}"/>
          </ac:picMkLst>
        </pc:picChg>
        <pc:picChg chg="del">
          <ac:chgData name="Pinto Retamal, Rodrigo Enrique" userId="09b922dc-e301-4f7a-90fe-e924f95e94b9" providerId="ADAL" clId="{AAD99E02-1FAF-434B-BD74-F81CF4188FB5}" dt="2021-05-03T21:19:02.368" v="1518" actId="478"/>
          <ac:picMkLst>
            <pc:docMk/>
            <pc:sldMk cId="2430620837" sldId="657"/>
            <ac:picMk id="26" creationId="{DA3A0ABD-05FD-46E7-A491-41D3761A6047}"/>
          </ac:picMkLst>
        </pc:picChg>
        <pc:picChg chg="del">
          <ac:chgData name="Pinto Retamal, Rodrigo Enrique" userId="09b922dc-e301-4f7a-90fe-e924f95e94b9" providerId="ADAL" clId="{AAD99E02-1FAF-434B-BD74-F81CF4188FB5}" dt="2021-05-03T21:19:02.368" v="1518" actId="478"/>
          <ac:picMkLst>
            <pc:docMk/>
            <pc:sldMk cId="2430620837" sldId="657"/>
            <ac:picMk id="28" creationId="{9F65234D-234D-4843-B3DD-E1AD0FBDE3DC}"/>
          </ac:picMkLst>
        </pc:picChg>
        <pc:picChg chg="del">
          <ac:chgData name="Pinto Retamal, Rodrigo Enrique" userId="09b922dc-e301-4f7a-90fe-e924f95e94b9" providerId="ADAL" clId="{AAD99E02-1FAF-434B-BD74-F81CF4188FB5}" dt="2021-05-03T21:19:02.368" v="1518" actId="478"/>
          <ac:picMkLst>
            <pc:docMk/>
            <pc:sldMk cId="2430620837" sldId="657"/>
            <ac:picMk id="29" creationId="{31A0FC5F-CD98-4511-9B20-0382CA65A536}"/>
          </ac:picMkLst>
        </pc:picChg>
        <pc:picChg chg="del">
          <ac:chgData name="Pinto Retamal, Rodrigo Enrique" userId="09b922dc-e301-4f7a-90fe-e924f95e94b9" providerId="ADAL" clId="{AAD99E02-1FAF-434B-BD74-F81CF4188FB5}" dt="2021-05-03T21:19:02.368" v="1518" actId="478"/>
          <ac:picMkLst>
            <pc:docMk/>
            <pc:sldMk cId="2430620837" sldId="657"/>
            <ac:picMk id="30" creationId="{00A4D79C-2340-4A57-BA6E-7E4F07CEFD21}"/>
          </ac:picMkLst>
        </pc:picChg>
        <pc:picChg chg="del">
          <ac:chgData name="Pinto Retamal, Rodrigo Enrique" userId="09b922dc-e301-4f7a-90fe-e924f95e94b9" providerId="ADAL" clId="{AAD99E02-1FAF-434B-BD74-F81CF4188FB5}" dt="2021-05-03T21:19:02.368" v="1518" actId="478"/>
          <ac:picMkLst>
            <pc:docMk/>
            <pc:sldMk cId="2430620837" sldId="657"/>
            <ac:picMk id="31" creationId="{0CA02C12-4D69-483D-935F-CE57BA88FDB0}"/>
          </ac:picMkLst>
        </pc:picChg>
        <pc:picChg chg="del">
          <ac:chgData name="Pinto Retamal, Rodrigo Enrique" userId="09b922dc-e301-4f7a-90fe-e924f95e94b9" providerId="ADAL" clId="{AAD99E02-1FAF-434B-BD74-F81CF4188FB5}" dt="2021-05-03T21:19:02.368" v="1518" actId="478"/>
          <ac:picMkLst>
            <pc:docMk/>
            <pc:sldMk cId="2430620837" sldId="657"/>
            <ac:picMk id="32" creationId="{654DCBD1-274F-4972-9CE9-40B85B7B94A0}"/>
          </ac:picMkLst>
        </pc:picChg>
        <pc:picChg chg="add">
          <ac:chgData name="Pinto Retamal, Rodrigo Enrique" userId="09b922dc-e301-4f7a-90fe-e924f95e94b9" providerId="ADAL" clId="{AAD99E02-1FAF-434B-BD74-F81CF4188FB5}" dt="2021-05-03T21:19:17.559" v="1520"/>
          <ac:picMkLst>
            <pc:docMk/>
            <pc:sldMk cId="2430620837" sldId="657"/>
            <ac:picMk id="40" creationId="{24295F03-BE71-46EB-ADC3-4DE920AA3FA9}"/>
          </ac:picMkLst>
        </pc:picChg>
        <pc:picChg chg="add">
          <ac:chgData name="Pinto Retamal, Rodrigo Enrique" userId="09b922dc-e301-4f7a-90fe-e924f95e94b9" providerId="ADAL" clId="{AAD99E02-1FAF-434B-BD74-F81CF4188FB5}" dt="2021-05-03T21:19:17.559" v="1520"/>
          <ac:picMkLst>
            <pc:docMk/>
            <pc:sldMk cId="2430620837" sldId="657"/>
            <ac:picMk id="41" creationId="{1D7A7FC5-9EEF-4C92-91E7-2CD26E2FF6B7}"/>
          </ac:picMkLst>
        </pc:picChg>
        <pc:picChg chg="add">
          <ac:chgData name="Pinto Retamal, Rodrigo Enrique" userId="09b922dc-e301-4f7a-90fe-e924f95e94b9" providerId="ADAL" clId="{AAD99E02-1FAF-434B-BD74-F81CF4188FB5}" dt="2021-05-03T21:19:17.559" v="1520"/>
          <ac:picMkLst>
            <pc:docMk/>
            <pc:sldMk cId="2430620837" sldId="657"/>
            <ac:picMk id="42" creationId="{0DF4A158-AD7E-4463-B2D1-C48F41DFC16A}"/>
          </ac:picMkLst>
        </pc:picChg>
        <pc:picChg chg="add">
          <ac:chgData name="Pinto Retamal, Rodrigo Enrique" userId="09b922dc-e301-4f7a-90fe-e924f95e94b9" providerId="ADAL" clId="{AAD99E02-1FAF-434B-BD74-F81CF4188FB5}" dt="2021-05-03T21:19:17.559" v="1520"/>
          <ac:picMkLst>
            <pc:docMk/>
            <pc:sldMk cId="2430620837" sldId="657"/>
            <ac:picMk id="43" creationId="{A4C4E112-A01A-49A3-9AE2-060A88039C4D}"/>
          </ac:picMkLst>
        </pc:picChg>
        <pc:picChg chg="add">
          <ac:chgData name="Pinto Retamal, Rodrigo Enrique" userId="09b922dc-e301-4f7a-90fe-e924f95e94b9" providerId="ADAL" clId="{AAD99E02-1FAF-434B-BD74-F81CF4188FB5}" dt="2021-05-03T21:19:17.559" v="1520"/>
          <ac:picMkLst>
            <pc:docMk/>
            <pc:sldMk cId="2430620837" sldId="657"/>
            <ac:picMk id="44" creationId="{AC54DE44-0284-4422-A356-2EE3547BCE68}"/>
          </ac:picMkLst>
        </pc:picChg>
      </pc:sldChg>
      <pc:sldChg chg="addSp delSp modSp add modAnim">
        <pc:chgData name="Pinto Retamal, Rodrigo Enrique" userId="09b922dc-e301-4f7a-90fe-e924f95e94b9" providerId="ADAL" clId="{AAD99E02-1FAF-434B-BD74-F81CF4188FB5}" dt="2021-05-04T15:20:51.092" v="1944" actId="20577"/>
        <pc:sldMkLst>
          <pc:docMk/>
          <pc:sldMk cId="1831839434" sldId="658"/>
        </pc:sldMkLst>
        <pc:spChg chg="add mod">
          <ac:chgData name="Pinto Retamal, Rodrigo Enrique" userId="09b922dc-e301-4f7a-90fe-e924f95e94b9" providerId="ADAL" clId="{AAD99E02-1FAF-434B-BD74-F81CF4188FB5}" dt="2021-05-04T15:20:29.035" v="1904" actId="207"/>
          <ac:spMkLst>
            <pc:docMk/>
            <pc:sldMk cId="1831839434" sldId="658"/>
            <ac:spMk id="18" creationId="{2482FFCF-7CAE-4293-8FC9-73A643CC02A0}"/>
          </ac:spMkLst>
        </pc:spChg>
        <pc:spChg chg="add">
          <ac:chgData name="Pinto Retamal, Rodrigo Enrique" userId="09b922dc-e301-4f7a-90fe-e924f95e94b9" providerId="ADAL" clId="{AAD99E02-1FAF-434B-BD74-F81CF4188FB5}" dt="2021-05-04T15:19:02.696" v="1784"/>
          <ac:spMkLst>
            <pc:docMk/>
            <pc:sldMk cId="1831839434" sldId="658"/>
            <ac:spMk id="19" creationId="{B099E1D2-023C-4309-BFED-D64E07CD0E5C}"/>
          </ac:spMkLst>
        </pc:spChg>
        <pc:spChg chg="add">
          <ac:chgData name="Pinto Retamal, Rodrigo Enrique" userId="09b922dc-e301-4f7a-90fe-e924f95e94b9" providerId="ADAL" clId="{AAD99E02-1FAF-434B-BD74-F81CF4188FB5}" dt="2021-05-04T15:19:02.696" v="1784"/>
          <ac:spMkLst>
            <pc:docMk/>
            <pc:sldMk cId="1831839434" sldId="658"/>
            <ac:spMk id="20" creationId="{CC0EA4D9-FAF3-42A1-9CF2-BFCBBE53DBD2}"/>
          </ac:spMkLst>
        </pc:spChg>
        <pc:spChg chg="add">
          <ac:chgData name="Pinto Retamal, Rodrigo Enrique" userId="09b922dc-e301-4f7a-90fe-e924f95e94b9" providerId="ADAL" clId="{AAD99E02-1FAF-434B-BD74-F81CF4188FB5}" dt="2021-05-04T15:19:02.696" v="1784"/>
          <ac:spMkLst>
            <pc:docMk/>
            <pc:sldMk cId="1831839434" sldId="658"/>
            <ac:spMk id="21" creationId="{84A0D167-68DA-41AA-945C-4898C99FE27F}"/>
          </ac:spMkLst>
        </pc:spChg>
        <pc:spChg chg="add mod">
          <ac:chgData name="Pinto Retamal, Rodrigo Enrique" userId="09b922dc-e301-4f7a-90fe-e924f95e94b9" providerId="ADAL" clId="{AAD99E02-1FAF-434B-BD74-F81CF4188FB5}" dt="2021-05-04T15:20:51.092" v="1944" actId="20577"/>
          <ac:spMkLst>
            <pc:docMk/>
            <pc:sldMk cId="1831839434" sldId="658"/>
            <ac:spMk id="22" creationId="{A0CD4BE5-CA24-4666-BF13-DE6D7EEF9ED9}"/>
          </ac:spMkLst>
        </pc:spChg>
        <pc:spChg chg="add mod">
          <ac:chgData name="Pinto Retamal, Rodrigo Enrique" userId="09b922dc-e301-4f7a-90fe-e924f95e94b9" providerId="ADAL" clId="{AAD99E02-1FAF-434B-BD74-F81CF4188FB5}" dt="2021-05-04T15:20:45.656" v="1943" actId="20577"/>
          <ac:spMkLst>
            <pc:docMk/>
            <pc:sldMk cId="1831839434" sldId="658"/>
            <ac:spMk id="23" creationId="{CAE8707B-F5FD-410F-A93E-3CDE34834C9D}"/>
          </ac:spMkLst>
        </pc:spChg>
        <pc:spChg chg="add">
          <ac:chgData name="Pinto Retamal, Rodrigo Enrique" userId="09b922dc-e301-4f7a-90fe-e924f95e94b9" providerId="ADAL" clId="{AAD99E02-1FAF-434B-BD74-F81CF4188FB5}" dt="2021-05-04T15:19:02.696" v="1784"/>
          <ac:spMkLst>
            <pc:docMk/>
            <pc:sldMk cId="1831839434" sldId="658"/>
            <ac:spMk id="26" creationId="{174AE6FF-94B5-4260-8B64-4D7017FF9427}"/>
          </ac:spMkLst>
        </pc:spChg>
        <pc:spChg chg="add mod">
          <ac:chgData name="Pinto Retamal, Rodrigo Enrique" userId="09b922dc-e301-4f7a-90fe-e924f95e94b9" providerId="ADAL" clId="{AAD99E02-1FAF-434B-BD74-F81CF4188FB5}" dt="2021-05-04T15:19:37.870" v="1812" actId="14100"/>
          <ac:spMkLst>
            <pc:docMk/>
            <pc:sldMk cId="1831839434" sldId="658"/>
            <ac:spMk id="27" creationId="{BF88F3BF-A329-49EE-8AD0-6C3D569E0CEF}"/>
          </ac:spMkLst>
        </pc:spChg>
        <pc:spChg chg="add">
          <ac:chgData name="Pinto Retamal, Rodrigo Enrique" userId="09b922dc-e301-4f7a-90fe-e924f95e94b9" providerId="ADAL" clId="{AAD99E02-1FAF-434B-BD74-F81CF4188FB5}" dt="2021-05-04T15:19:02.696" v="1784"/>
          <ac:spMkLst>
            <pc:docMk/>
            <pc:sldMk cId="1831839434" sldId="658"/>
            <ac:spMk id="28" creationId="{D9A267E5-AE46-4205-818A-6EEA7FC56286}"/>
          </ac:spMkLst>
        </pc:spChg>
        <pc:spChg chg="add">
          <ac:chgData name="Pinto Retamal, Rodrigo Enrique" userId="09b922dc-e301-4f7a-90fe-e924f95e94b9" providerId="ADAL" clId="{AAD99E02-1FAF-434B-BD74-F81CF4188FB5}" dt="2021-05-04T15:19:02.696" v="1784"/>
          <ac:spMkLst>
            <pc:docMk/>
            <pc:sldMk cId="1831839434" sldId="658"/>
            <ac:spMk id="29" creationId="{7A5A65CE-7A51-4706-8A33-A26F7CCD1951}"/>
          </ac:spMkLst>
        </pc:spChg>
        <pc:spChg chg="add mod">
          <ac:chgData name="Pinto Retamal, Rodrigo Enrique" userId="09b922dc-e301-4f7a-90fe-e924f95e94b9" providerId="ADAL" clId="{AAD99E02-1FAF-434B-BD74-F81CF4188FB5}" dt="2021-05-04T15:19:29.691" v="1811" actId="1076"/>
          <ac:spMkLst>
            <pc:docMk/>
            <pc:sldMk cId="1831839434" sldId="658"/>
            <ac:spMk id="30" creationId="{B1FAB836-0D25-421E-AE0F-F1036A4B5D8C}"/>
          </ac:spMkLst>
        </pc:spChg>
        <pc:spChg chg="del">
          <ac:chgData name="Pinto Retamal, Rodrigo Enrique" userId="09b922dc-e301-4f7a-90fe-e924f95e94b9" providerId="ADAL" clId="{AAD99E02-1FAF-434B-BD74-F81CF4188FB5}" dt="2021-05-04T15:18:46.761" v="1783" actId="478"/>
          <ac:spMkLst>
            <pc:docMk/>
            <pc:sldMk cId="1831839434" sldId="658"/>
            <ac:spMk id="34" creationId="{FAD1E0F6-063F-4618-B9DD-EAA16F3723F4}"/>
          </ac:spMkLst>
        </pc:spChg>
        <pc:spChg chg="del">
          <ac:chgData name="Pinto Retamal, Rodrigo Enrique" userId="09b922dc-e301-4f7a-90fe-e924f95e94b9" providerId="ADAL" clId="{AAD99E02-1FAF-434B-BD74-F81CF4188FB5}" dt="2021-05-04T15:18:46.761" v="1783" actId="478"/>
          <ac:spMkLst>
            <pc:docMk/>
            <pc:sldMk cId="1831839434" sldId="658"/>
            <ac:spMk id="35" creationId="{3E9805E6-1B2C-4CC4-8293-94E5C7EF531B}"/>
          </ac:spMkLst>
        </pc:spChg>
        <pc:spChg chg="del">
          <ac:chgData name="Pinto Retamal, Rodrigo Enrique" userId="09b922dc-e301-4f7a-90fe-e924f95e94b9" providerId="ADAL" clId="{AAD99E02-1FAF-434B-BD74-F81CF4188FB5}" dt="2021-05-04T15:18:46.761" v="1783" actId="478"/>
          <ac:spMkLst>
            <pc:docMk/>
            <pc:sldMk cId="1831839434" sldId="658"/>
            <ac:spMk id="36" creationId="{D749D816-7D24-4D57-94C0-9FB1CD278D49}"/>
          </ac:spMkLst>
        </pc:spChg>
        <pc:spChg chg="del">
          <ac:chgData name="Pinto Retamal, Rodrigo Enrique" userId="09b922dc-e301-4f7a-90fe-e924f95e94b9" providerId="ADAL" clId="{AAD99E02-1FAF-434B-BD74-F81CF4188FB5}" dt="2021-05-04T15:18:46.761" v="1783" actId="478"/>
          <ac:spMkLst>
            <pc:docMk/>
            <pc:sldMk cId="1831839434" sldId="658"/>
            <ac:spMk id="37" creationId="{65412C40-84DB-4B62-BB5E-3AD8F300C66C}"/>
          </ac:spMkLst>
        </pc:spChg>
        <pc:spChg chg="del">
          <ac:chgData name="Pinto Retamal, Rodrigo Enrique" userId="09b922dc-e301-4f7a-90fe-e924f95e94b9" providerId="ADAL" clId="{AAD99E02-1FAF-434B-BD74-F81CF4188FB5}" dt="2021-05-04T15:18:46.761" v="1783" actId="478"/>
          <ac:spMkLst>
            <pc:docMk/>
            <pc:sldMk cId="1831839434" sldId="658"/>
            <ac:spMk id="38" creationId="{545B56B5-39E4-47F4-99BE-0C5BD571A6E4}"/>
          </ac:spMkLst>
        </pc:spChg>
        <pc:spChg chg="del">
          <ac:chgData name="Pinto Retamal, Rodrigo Enrique" userId="09b922dc-e301-4f7a-90fe-e924f95e94b9" providerId="ADAL" clId="{AAD99E02-1FAF-434B-BD74-F81CF4188FB5}" dt="2021-05-04T15:18:46.761" v="1783" actId="478"/>
          <ac:spMkLst>
            <pc:docMk/>
            <pc:sldMk cId="1831839434" sldId="658"/>
            <ac:spMk id="39" creationId="{9BFEE82F-A400-4158-A5C6-20931A7E6C9D}"/>
          </ac:spMkLst>
        </pc:spChg>
        <pc:spChg chg="del">
          <ac:chgData name="Pinto Retamal, Rodrigo Enrique" userId="09b922dc-e301-4f7a-90fe-e924f95e94b9" providerId="ADAL" clId="{AAD99E02-1FAF-434B-BD74-F81CF4188FB5}" dt="2021-05-04T15:18:46.761" v="1783" actId="478"/>
          <ac:spMkLst>
            <pc:docMk/>
            <pc:sldMk cId="1831839434" sldId="658"/>
            <ac:spMk id="45" creationId="{A2387F21-99EE-4CB1-8F03-41F198514C41}"/>
          </ac:spMkLst>
        </pc:spChg>
        <pc:picChg chg="del">
          <ac:chgData name="Pinto Retamal, Rodrigo Enrique" userId="09b922dc-e301-4f7a-90fe-e924f95e94b9" providerId="ADAL" clId="{AAD99E02-1FAF-434B-BD74-F81CF4188FB5}" dt="2021-05-04T15:18:46.761" v="1783" actId="478"/>
          <ac:picMkLst>
            <pc:docMk/>
            <pc:sldMk cId="1831839434" sldId="658"/>
            <ac:picMk id="40" creationId="{24295F03-BE71-46EB-ADC3-4DE920AA3FA9}"/>
          </ac:picMkLst>
        </pc:picChg>
        <pc:picChg chg="del">
          <ac:chgData name="Pinto Retamal, Rodrigo Enrique" userId="09b922dc-e301-4f7a-90fe-e924f95e94b9" providerId="ADAL" clId="{AAD99E02-1FAF-434B-BD74-F81CF4188FB5}" dt="2021-05-04T15:18:46.761" v="1783" actId="478"/>
          <ac:picMkLst>
            <pc:docMk/>
            <pc:sldMk cId="1831839434" sldId="658"/>
            <ac:picMk id="41" creationId="{1D7A7FC5-9EEF-4C92-91E7-2CD26E2FF6B7}"/>
          </ac:picMkLst>
        </pc:picChg>
        <pc:picChg chg="del">
          <ac:chgData name="Pinto Retamal, Rodrigo Enrique" userId="09b922dc-e301-4f7a-90fe-e924f95e94b9" providerId="ADAL" clId="{AAD99E02-1FAF-434B-BD74-F81CF4188FB5}" dt="2021-05-04T15:18:46.761" v="1783" actId="478"/>
          <ac:picMkLst>
            <pc:docMk/>
            <pc:sldMk cId="1831839434" sldId="658"/>
            <ac:picMk id="42" creationId="{0DF4A158-AD7E-4463-B2D1-C48F41DFC16A}"/>
          </ac:picMkLst>
        </pc:picChg>
        <pc:picChg chg="del">
          <ac:chgData name="Pinto Retamal, Rodrigo Enrique" userId="09b922dc-e301-4f7a-90fe-e924f95e94b9" providerId="ADAL" clId="{AAD99E02-1FAF-434B-BD74-F81CF4188FB5}" dt="2021-05-04T15:18:46.761" v="1783" actId="478"/>
          <ac:picMkLst>
            <pc:docMk/>
            <pc:sldMk cId="1831839434" sldId="658"/>
            <ac:picMk id="43" creationId="{A4C4E112-A01A-49A3-9AE2-060A88039C4D}"/>
          </ac:picMkLst>
        </pc:picChg>
        <pc:picChg chg="del">
          <ac:chgData name="Pinto Retamal, Rodrigo Enrique" userId="09b922dc-e301-4f7a-90fe-e924f95e94b9" providerId="ADAL" clId="{AAD99E02-1FAF-434B-BD74-F81CF4188FB5}" dt="2021-05-04T15:18:46.761" v="1783" actId="478"/>
          <ac:picMkLst>
            <pc:docMk/>
            <pc:sldMk cId="1831839434" sldId="658"/>
            <ac:picMk id="44" creationId="{AC54DE44-0284-4422-A356-2EE3547BCE68}"/>
          </ac:picMkLst>
        </pc:picChg>
      </pc:sldChg>
      <pc:sldChg chg="modSp add">
        <pc:chgData name="Pinto Retamal, Rodrigo Enrique" userId="09b922dc-e301-4f7a-90fe-e924f95e94b9" providerId="ADAL" clId="{AAD99E02-1FAF-434B-BD74-F81CF4188FB5}" dt="2021-05-04T15:51:48.756" v="2604" actId="1076"/>
        <pc:sldMkLst>
          <pc:docMk/>
          <pc:sldMk cId="1179495514" sldId="676"/>
        </pc:sldMkLst>
        <pc:spChg chg="mod">
          <ac:chgData name="Pinto Retamal, Rodrigo Enrique" userId="09b922dc-e301-4f7a-90fe-e924f95e94b9" providerId="ADAL" clId="{AAD99E02-1FAF-434B-BD74-F81CF4188FB5}" dt="2021-05-04T15:25:27.686" v="1952" actId="1076"/>
          <ac:spMkLst>
            <pc:docMk/>
            <pc:sldMk cId="1179495514" sldId="676"/>
            <ac:spMk id="402433" creationId="{00000000-0000-0000-0000-000000000000}"/>
          </ac:spMkLst>
        </pc:spChg>
        <pc:spChg chg="mod">
          <ac:chgData name="Pinto Retamal, Rodrigo Enrique" userId="09b922dc-e301-4f7a-90fe-e924f95e94b9" providerId="ADAL" clId="{AAD99E02-1FAF-434B-BD74-F81CF4188FB5}" dt="2021-05-04T15:51:48.756" v="2604" actId="1076"/>
          <ac:spMkLst>
            <pc:docMk/>
            <pc:sldMk cId="1179495514" sldId="676"/>
            <ac:spMk id="402434" creationId="{00000000-0000-0000-0000-000000000000}"/>
          </ac:spMkLst>
        </pc:spChg>
      </pc:sldChg>
      <pc:sldChg chg="addSp delSp modSp add modAnim">
        <pc:chgData name="Pinto Retamal, Rodrigo Enrique" userId="09b922dc-e301-4f7a-90fe-e924f95e94b9" providerId="ADAL" clId="{AAD99E02-1FAF-434B-BD74-F81CF4188FB5}" dt="2021-05-04T15:51:25.710" v="2602" actId="1076"/>
        <pc:sldMkLst>
          <pc:docMk/>
          <pc:sldMk cId="923362368" sldId="678"/>
        </pc:sldMkLst>
        <pc:spChg chg="add mod">
          <ac:chgData name="Pinto Retamal, Rodrigo Enrique" userId="09b922dc-e301-4f7a-90fe-e924f95e94b9" providerId="ADAL" clId="{AAD99E02-1FAF-434B-BD74-F81CF4188FB5}" dt="2021-05-04T15:41:05.316" v="2401" actId="1076"/>
          <ac:spMkLst>
            <pc:docMk/>
            <pc:sldMk cId="923362368" sldId="678"/>
            <ac:spMk id="2" creationId="{C515CEBC-162A-415A-A5BC-7D759CB5A376}"/>
          </ac:spMkLst>
        </pc:spChg>
        <pc:spChg chg="del mod">
          <ac:chgData name="Pinto Retamal, Rodrigo Enrique" userId="09b922dc-e301-4f7a-90fe-e924f95e94b9" providerId="ADAL" clId="{AAD99E02-1FAF-434B-BD74-F81CF4188FB5}" dt="2021-05-04T15:30:28.203" v="1980" actId="478"/>
          <ac:spMkLst>
            <pc:docMk/>
            <pc:sldMk cId="923362368" sldId="678"/>
            <ac:spMk id="7" creationId="{00000000-0000-0000-0000-000000000000}"/>
          </ac:spMkLst>
        </pc:spChg>
        <pc:spChg chg="del">
          <ac:chgData name="Pinto Retamal, Rodrigo Enrique" userId="09b922dc-e301-4f7a-90fe-e924f95e94b9" providerId="ADAL" clId="{AAD99E02-1FAF-434B-BD74-F81CF4188FB5}" dt="2021-05-04T15:30:28.203" v="1980" actId="478"/>
          <ac:spMkLst>
            <pc:docMk/>
            <pc:sldMk cId="923362368" sldId="678"/>
            <ac:spMk id="24" creationId="{00000000-0000-0000-0000-000000000000}"/>
          </ac:spMkLst>
        </pc:spChg>
        <pc:spChg chg="del">
          <ac:chgData name="Pinto Retamal, Rodrigo Enrique" userId="09b922dc-e301-4f7a-90fe-e924f95e94b9" providerId="ADAL" clId="{AAD99E02-1FAF-434B-BD74-F81CF4188FB5}" dt="2021-05-04T15:30:28.203" v="1980" actId="478"/>
          <ac:spMkLst>
            <pc:docMk/>
            <pc:sldMk cId="923362368" sldId="678"/>
            <ac:spMk id="25" creationId="{00000000-0000-0000-0000-000000000000}"/>
          </ac:spMkLst>
        </pc:spChg>
        <pc:spChg chg="del">
          <ac:chgData name="Pinto Retamal, Rodrigo Enrique" userId="09b922dc-e301-4f7a-90fe-e924f95e94b9" providerId="ADAL" clId="{AAD99E02-1FAF-434B-BD74-F81CF4188FB5}" dt="2021-05-04T15:30:28.203" v="1980" actId="478"/>
          <ac:spMkLst>
            <pc:docMk/>
            <pc:sldMk cId="923362368" sldId="678"/>
            <ac:spMk id="26" creationId="{00000000-0000-0000-0000-000000000000}"/>
          </ac:spMkLst>
        </pc:spChg>
        <pc:spChg chg="del">
          <ac:chgData name="Pinto Retamal, Rodrigo Enrique" userId="09b922dc-e301-4f7a-90fe-e924f95e94b9" providerId="ADAL" clId="{AAD99E02-1FAF-434B-BD74-F81CF4188FB5}" dt="2021-05-04T15:30:28.203" v="1980" actId="478"/>
          <ac:spMkLst>
            <pc:docMk/>
            <pc:sldMk cId="923362368" sldId="678"/>
            <ac:spMk id="27" creationId="{00000000-0000-0000-0000-000000000000}"/>
          </ac:spMkLst>
        </pc:spChg>
        <pc:spChg chg="add mod">
          <ac:chgData name="Pinto Retamal, Rodrigo Enrique" userId="09b922dc-e301-4f7a-90fe-e924f95e94b9" providerId="ADAL" clId="{AAD99E02-1FAF-434B-BD74-F81CF4188FB5}" dt="2021-05-04T15:43:49.157" v="2443" actId="1037"/>
          <ac:spMkLst>
            <pc:docMk/>
            <pc:sldMk cId="923362368" sldId="678"/>
            <ac:spMk id="35" creationId="{B2BC6561-012D-470E-9F35-AD98A2E1CB37}"/>
          </ac:spMkLst>
        </pc:spChg>
        <pc:spChg chg="add mod">
          <ac:chgData name="Pinto Retamal, Rodrigo Enrique" userId="09b922dc-e301-4f7a-90fe-e924f95e94b9" providerId="ADAL" clId="{AAD99E02-1FAF-434B-BD74-F81CF4188FB5}" dt="2021-05-04T15:43:49.157" v="2443" actId="1037"/>
          <ac:spMkLst>
            <pc:docMk/>
            <pc:sldMk cId="923362368" sldId="678"/>
            <ac:spMk id="36" creationId="{F94B2511-B583-4DCF-9AF9-AA2638FB5046}"/>
          </ac:spMkLst>
        </pc:spChg>
        <pc:spChg chg="add mod">
          <ac:chgData name="Pinto Retamal, Rodrigo Enrique" userId="09b922dc-e301-4f7a-90fe-e924f95e94b9" providerId="ADAL" clId="{AAD99E02-1FAF-434B-BD74-F81CF4188FB5}" dt="2021-05-04T15:43:49.157" v="2443" actId="1037"/>
          <ac:spMkLst>
            <pc:docMk/>
            <pc:sldMk cId="923362368" sldId="678"/>
            <ac:spMk id="37" creationId="{42C35936-A6A0-4D3E-95EA-B245E7717939}"/>
          </ac:spMkLst>
        </pc:spChg>
        <pc:spChg chg="add mod">
          <ac:chgData name="Pinto Retamal, Rodrigo Enrique" userId="09b922dc-e301-4f7a-90fe-e924f95e94b9" providerId="ADAL" clId="{AAD99E02-1FAF-434B-BD74-F81CF4188FB5}" dt="2021-05-04T15:43:49.157" v="2443" actId="1037"/>
          <ac:spMkLst>
            <pc:docMk/>
            <pc:sldMk cId="923362368" sldId="678"/>
            <ac:spMk id="38" creationId="{95A577AC-642C-40B3-9C2B-D56CC26FA4B6}"/>
          </ac:spMkLst>
        </pc:spChg>
        <pc:spChg chg="add del mod">
          <ac:chgData name="Pinto Retamal, Rodrigo Enrique" userId="09b922dc-e301-4f7a-90fe-e924f95e94b9" providerId="ADAL" clId="{AAD99E02-1FAF-434B-BD74-F81CF4188FB5}" dt="2021-05-04T15:37:00.697" v="2191" actId="478"/>
          <ac:spMkLst>
            <pc:docMk/>
            <pc:sldMk cId="923362368" sldId="678"/>
            <ac:spMk id="40" creationId="{81E6D1FB-5CB6-4A7B-9375-2DC41691458A}"/>
          </ac:spMkLst>
        </pc:spChg>
        <pc:spChg chg="add del mod">
          <ac:chgData name="Pinto Retamal, Rodrigo Enrique" userId="09b922dc-e301-4f7a-90fe-e924f95e94b9" providerId="ADAL" clId="{AAD99E02-1FAF-434B-BD74-F81CF4188FB5}" dt="2021-05-04T15:37:00.697" v="2191" actId="478"/>
          <ac:spMkLst>
            <pc:docMk/>
            <pc:sldMk cId="923362368" sldId="678"/>
            <ac:spMk id="42" creationId="{41131478-535F-4FC3-BA1B-9A3760D53EEC}"/>
          </ac:spMkLst>
        </pc:spChg>
        <pc:spChg chg="add del mod">
          <ac:chgData name="Pinto Retamal, Rodrigo Enrique" userId="09b922dc-e301-4f7a-90fe-e924f95e94b9" providerId="ADAL" clId="{AAD99E02-1FAF-434B-BD74-F81CF4188FB5}" dt="2021-05-04T15:36:45.974" v="2189" actId="478"/>
          <ac:spMkLst>
            <pc:docMk/>
            <pc:sldMk cId="923362368" sldId="678"/>
            <ac:spMk id="44" creationId="{724A5748-FED5-4FC6-BD51-608078932694}"/>
          </ac:spMkLst>
        </pc:spChg>
        <pc:spChg chg="add mod">
          <ac:chgData name="Pinto Retamal, Rodrigo Enrique" userId="09b922dc-e301-4f7a-90fe-e924f95e94b9" providerId="ADAL" clId="{AAD99E02-1FAF-434B-BD74-F81CF4188FB5}" dt="2021-05-04T15:40:54.375" v="2398" actId="1036"/>
          <ac:spMkLst>
            <pc:docMk/>
            <pc:sldMk cId="923362368" sldId="678"/>
            <ac:spMk id="48" creationId="{9766D258-A96A-4D92-B656-A7574D138256}"/>
          </ac:spMkLst>
        </pc:spChg>
        <pc:spChg chg="add mod">
          <ac:chgData name="Pinto Retamal, Rodrigo Enrique" userId="09b922dc-e301-4f7a-90fe-e924f95e94b9" providerId="ADAL" clId="{AAD99E02-1FAF-434B-BD74-F81CF4188FB5}" dt="2021-05-04T15:40:54.375" v="2398" actId="1036"/>
          <ac:spMkLst>
            <pc:docMk/>
            <pc:sldMk cId="923362368" sldId="678"/>
            <ac:spMk id="49" creationId="{6CDF94D8-6945-43FC-A57C-2630784B521A}"/>
          </ac:spMkLst>
        </pc:spChg>
        <pc:spChg chg="mod">
          <ac:chgData name="Pinto Retamal, Rodrigo Enrique" userId="09b922dc-e301-4f7a-90fe-e924f95e94b9" providerId="ADAL" clId="{AAD99E02-1FAF-434B-BD74-F81CF4188FB5}" dt="2021-05-04T15:51:25.710" v="2602" actId="1076"/>
          <ac:spMkLst>
            <pc:docMk/>
            <pc:sldMk cId="923362368" sldId="678"/>
            <ac:spMk id="31747" creationId="{00000000-0000-0000-0000-000000000000}"/>
          </ac:spMkLst>
        </pc:spChg>
        <pc:spChg chg="mod">
          <ac:chgData name="Pinto Retamal, Rodrigo Enrique" userId="09b922dc-e301-4f7a-90fe-e924f95e94b9" providerId="ADAL" clId="{AAD99E02-1FAF-434B-BD74-F81CF4188FB5}" dt="2021-05-04T15:43:32.652" v="2419" actId="1076"/>
          <ac:spMkLst>
            <pc:docMk/>
            <pc:sldMk cId="923362368" sldId="678"/>
            <ac:spMk id="404481" creationId="{00000000-0000-0000-0000-000000000000}"/>
          </ac:spMkLst>
        </pc:spChg>
        <pc:grpChg chg="del">
          <ac:chgData name="Pinto Retamal, Rodrigo Enrique" userId="09b922dc-e301-4f7a-90fe-e924f95e94b9" providerId="ADAL" clId="{AAD99E02-1FAF-434B-BD74-F81CF4188FB5}" dt="2021-05-04T15:30:28.203" v="1980" actId="478"/>
          <ac:grpSpMkLst>
            <pc:docMk/>
            <pc:sldMk cId="923362368" sldId="678"/>
            <ac:grpSpMk id="5" creationId="{00000000-0000-0000-0000-000000000000}"/>
          </ac:grpSpMkLst>
        </pc:grpChg>
        <pc:grpChg chg="add mod">
          <ac:chgData name="Pinto Retamal, Rodrigo Enrique" userId="09b922dc-e301-4f7a-90fe-e924f95e94b9" providerId="ADAL" clId="{AAD99E02-1FAF-434B-BD74-F81CF4188FB5}" dt="2021-05-04T15:43:52.327" v="2444" actId="1076"/>
          <ac:grpSpMkLst>
            <pc:docMk/>
            <pc:sldMk cId="923362368" sldId="678"/>
            <ac:grpSpMk id="20" creationId="{47E26837-E463-4536-AC43-FD44B64FA307}"/>
          </ac:grpSpMkLst>
        </pc:grpChg>
        <pc:picChg chg="add mod">
          <ac:chgData name="Pinto Retamal, Rodrigo Enrique" userId="09b922dc-e301-4f7a-90fe-e924f95e94b9" providerId="ADAL" clId="{AAD99E02-1FAF-434B-BD74-F81CF4188FB5}" dt="2021-05-04T15:43:49.157" v="2443" actId="1037"/>
          <ac:picMkLst>
            <pc:docMk/>
            <pc:sldMk cId="923362368" sldId="678"/>
            <ac:picMk id="31" creationId="{97CAD6B6-A04C-42D9-BDB8-85878BD41262}"/>
          </ac:picMkLst>
        </pc:picChg>
        <pc:picChg chg="add mod">
          <ac:chgData name="Pinto Retamal, Rodrigo Enrique" userId="09b922dc-e301-4f7a-90fe-e924f95e94b9" providerId="ADAL" clId="{AAD99E02-1FAF-434B-BD74-F81CF4188FB5}" dt="2021-05-04T15:43:49.157" v="2443" actId="1037"/>
          <ac:picMkLst>
            <pc:docMk/>
            <pc:sldMk cId="923362368" sldId="678"/>
            <ac:picMk id="32" creationId="{8E7E707F-D93A-4E09-B109-C12303778003}"/>
          </ac:picMkLst>
        </pc:picChg>
        <pc:picChg chg="add mod">
          <ac:chgData name="Pinto Retamal, Rodrigo Enrique" userId="09b922dc-e301-4f7a-90fe-e924f95e94b9" providerId="ADAL" clId="{AAD99E02-1FAF-434B-BD74-F81CF4188FB5}" dt="2021-05-04T15:43:49.157" v="2443" actId="1037"/>
          <ac:picMkLst>
            <pc:docMk/>
            <pc:sldMk cId="923362368" sldId="678"/>
            <ac:picMk id="33" creationId="{471FB654-4C6B-4CA6-8311-548B05BF7BE8}"/>
          </ac:picMkLst>
        </pc:picChg>
        <pc:picChg chg="add mod">
          <ac:chgData name="Pinto Retamal, Rodrigo Enrique" userId="09b922dc-e301-4f7a-90fe-e924f95e94b9" providerId="ADAL" clId="{AAD99E02-1FAF-434B-BD74-F81CF4188FB5}" dt="2021-05-04T15:43:49.157" v="2443" actId="1037"/>
          <ac:picMkLst>
            <pc:docMk/>
            <pc:sldMk cId="923362368" sldId="678"/>
            <ac:picMk id="34" creationId="{ED5EAC64-943C-49B4-AE5F-C8E3ED5D7707}"/>
          </ac:picMkLst>
        </pc:picChg>
        <pc:picChg chg="add del mod">
          <ac:chgData name="Pinto Retamal, Rodrigo Enrique" userId="09b922dc-e301-4f7a-90fe-e924f95e94b9" providerId="ADAL" clId="{AAD99E02-1FAF-434B-BD74-F81CF4188FB5}" dt="2021-05-04T15:37:00.697" v="2191" actId="478"/>
          <ac:picMkLst>
            <pc:docMk/>
            <pc:sldMk cId="923362368" sldId="678"/>
            <ac:picMk id="39" creationId="{7E78500C-BF5A-40A7-A260-26C187936A9B}"/>
          </ac:picMkLst>
        </pc:picChg>
        <pc:picChg chg="add del mod">
          <ac:chgData name="Pinto Retamal, Rodrigo Enrique" userId="09b922dc-e301-4f7a-90fe-e924f95e94b9" providerId="ADAL" clId="{AAD99E02-1FAF-434B-BD74-F81CF4188FB5}" dt="2021-05-04T15:37:00.697" v="2191" actId="478"/>
          <ac:picMkLst>
            <pc:docMk/>
            <pc:sldMk cId="923362368" sldId="678"/>
            <ac:picMk id="41" creationId="{F3176A01-9C78-4291-8C15-D17017A405C1}"/>
          </ac:picMkLst>
        </pc:picChg>
        <pc:picChg chg="add del mod">
          <ac:chgData name="Pinto Retamal, Rodrigo Enrique" userId="09b922dc-e301-4f7a-90fe-e924f95e94b9" providerId="ADAL" clId="{AAD99E02-1FAF-434B-BD74-F81CF4188FB5}" dt="2021-05-04T15:36:42.319" v="2188" actId="478"/>
          <ac:picMkLst>
            <pc:docMk/>
            <pc:sldMk cId="923362368" sldId="678"/>
            <ac:picMk id="43" creationId="{F8B10EBA-3440-48A3-A2BD-FF725F2948C2}"/>
          </ac:picMkLst>
        </pc:picChg>
        <pc:picChg chg="add del mod">
          <ac:chgData name="Pinto Retamal, Rodrigo Enrique" userId="09b922dc-e301-4f7a-90fe-e924f95e94b9" providerId="ADAL" clId="{AAD99E02-1FAF-434B-BD74-F81CF4188FB5}" dt="2021-05-04T15:36:42.319" v="2188" actId="478"/>
          <ac:picMkLst>
            <pc:docMk/>
            <pc:sldMk cId="923362368" sldId="678"/>
            <ac:picMk id="45" creationId="{47406C99-9845-47A8-A686-03066628C8E2}"/>
          </ac:picMkLst>
        </pc:picChg>
        <pc:picChg chg="add mod">
          <ac:chgData name="Pinto Retamal, Rodrigo Enrique" userId="09b922dc-e301-4f7a-90fe-e924f95e94b9" providerId="ADAL" clId="{AAD99E02-1FAF-434B-BD74-F81CF4188FB5}" dt="2021-05-04T15:40:54.375" v="2398" actId="1036"/>
          <ac:picMkLst>
            <pc:docMk/>
            <pc:sldMk cId="923362368" sldId="678"/>
            <ac:picMk id="46" creationId="{A16521DB-F384-46B8-B10F-5218FEFA5B64}"/>
          </ac:picMkLst>
        </pc:picChg>
        <pc:picChg chg="add mod">
          <ac:chgData name="Pinto Retamal, Rodrigo Enrique" userId="09b922dc-e301-4f7a-90fe-e924f95e94b9" providerId="ADAL" clId="{AAD99E02-1FAF-434B-BD74-F81CF4188FB5}" dt="2021-05-04T15:40:54.375" v="2398" actId="1036"/>
          <ac:picMkLst>
            <pc:docMk/>
            <pc:sldMk cId="923362368" sldId="678"/>
            <ac:picMk id="47" creationId="{ECA21BA5-952F-4C1F-845F-60893B6D979D}"/>
          </ac:picMkLst>
        </pc:picChg>
      </pc:sldChg>
      <pc:sldChg chg="add del">
        <pc:chgData name="Pinto Retamal, Rodrigo Enrique" userId="09b922dc-e301-4f7a-90fe-e924f95e94b9" providerId="ADAL" clId="{AAD99E02-1FAF-434B-BD74-F81CF4188FB5}" dt="2021-05-04T15:30:36.177" v="1981" actId="2696"/>
        <pc:sldMkLst>
          <pc:docMk/>
          <pc:sldMk cId="871510566" sldId="679"/>
        </pc:sldMkLst>
      </pc:sldChg>
      <pc:sldChg chg="add del">
        <pc:chgData name="Pinto Retamal, Rodrigo Enrique" userId="09b922dc-e301-4f7a-90fe-e924f95e94b9" providerId="ADAL" clId="{AAD99E02-1FAF-434B-BD74-F81CF4188FB5}" dt="2021-05-04T15:30:43.079" v="1982" actId="2696"/>
        <pc:sldMkLst>
          <pc:docMk/>
          <pc:sldMk cId="422429904" sldId="680"/>
        </pc:sldMkLst>
      </pc:sldChg>
      <pc:sldChg chg="modSp add">
        <pc:chgData name="Pinto Retamal, Rodrigo Enrique" userId="09b922dc-e301-4f7a-90fe-e924f95e94b9" providerId="ADAL" clId="{AAD99E02-1FAF-434B-BD74-F81CF4188FB5}" dt="2021-05-04T15:51:39.600" v="2603" actId="1076"/>
        <pc:sldMkLst>
          <pc:docMk/>
          <pc:sldMk cId="1778136608" sldId="681"/>
        </pc:sldMkLst>
        <pc:spChg chg="mod">
          <ac:chgData name="Pinto Retamal, Rodrigo Enrique" userId="09b922dc-e301-4f7a-90fe-e924f95e94b9" providerId="ADAL" clId="{AAD99E02-1FAF-434B-BD74-F81CF4188FB5}" dt="2021-05-04T15:46:05.267" v="2552" actId="1076"/>
          <ac:spMkLst>
            <pc:docMk/>
            <pc:sldMk cId="1778136608" sldId="681"/>
            <ac:spMk id="2" creationId="{00000000-0000-0000-0000-000000000000}"/>
          </ac:spMkLst>
        </pc:spChg>
        <pc:spChg chg="mod">
          <ac:chgData name="Pinto Retamal, Rodrigo Enrique" userId="09b922dc-e301-4f7a-90fe-e924f95e94b9" providerId="ADAL" clId="{AAD99E02-1FAF-434B-BD74-F81CF4188FB5}" dt="2021-05-04T15:43:19.543" v="2417" actId="1076"/>
          <ac:spMkLst>
            <pc:docMk/>
            <pc:sldMk cId="1778136608" sldId="681"/>
            <ac:spMk id="411649" creationId="{00000000-0000-0000-0000-000000000000}"/>
          </ac:spMkLst>
        </pc:spChg>
        <pc:spChg chg="mod">
          <ac:chgData name="Pinto Retamal, Rodrigo Enrique" userId="09b922dc-e301-4f7a-90fe-e924f95e94b9" providerId="ADAL" clId="{AAD99E02-1FAF-434B-BD74-F81CF4188FB5}" dt="2021-05-04T15:51:39.600" v="2603" actId="1076"/>
          <ac:spMkLst>
            <pc:docMk/>
            <pc:sldMk cId="1778136608" sldId="681"/>
            <ac:spMk id="411650" creationId="{00000000-0000-0000-0000-000000000000}"/>
          </ac:spMkLst>
        </pc:spChg>
        <pc:picChg chg="mod">
          <ac:chgData name="Pinto Retamal, Rodrigo Enrique" userId="09b922dc-e301-4f7a-90fe-e924f95e94b9" providerId="ADAL" clId="{AAD99E02-1FAF-434B-BD74-F81CF4188FB5}" dt="2021-05-04T15:46:03.324" v="2551" actId="1076"/>
          <ac:picMkLst>
            <pc:docMk/>
            <pc:sldMk cId="1778136608" sldId="681"/>
            <ac:picMk id="5" creationId="{00000000-0000-0000-0000-000000000000}"/>
          </ac:picMkLst>
        </pc:picChg>
        <pc:picChg chg="mod">
          <ac:chgData name="Pinto Retamal, Rodrigo Enrique" userId="09b922dc-e301-4f7a-90fe-e924f95e94b9" providerId="ADAL" clId="{AAD99E02-1FAF-434B-BD74-F81CF4188FB5}" dt="2021-05-04T15:45:58.146" v="2549" actId="1076"/>
          <ac:picMkLst>
            <pc:docMk/>
            <pc:sldMk cId="1778136608" sldId="681"/>
            <ac:picMk id="37892" creationId="{00000000-0000-0000-0000-000000000000}"/>
          </ac:picMkLst>
        </pc:picChg>
      </pc:sldChg>
      <pc:sldChg chg="modSp add">
        <pc:chgData name="Pinto Retamal, Rodrigo Enrique" userId="09b922dc-e301-4f7a-90fe-e924f95e94b9" providerId="ADAL" clId="{AAD99E02-1FAF-434B-BD74-F81CF4188FB5}" dt="2021-05-04T15:50:54.949" v="2600" actId="1076"/>
        <pc:sldMkLst>
          <pc:docMk/>
          <pc:sldMk cId="4240280144" sldId="682"/>
        </pc:sldMkLst>
        <pc:spChg chg="mod">
          <ac:chgData name="Pinto Retamal, Rodrigo Enrique" userId="09b922dc-e301-4f7a-90fe-e924f95e94b9" providerId="ADAL" clId="{AAD99E02-1FAF-434B-BD74-F81CF4188FB5}" dt="2021-05-04T15:50:54.949" v="2600" actId="1076"/>
          <ac:spMkLst>
            <pc:docMk/>
            <pc:sldMk cId="4240280144" sldId="682"/>
            <ac:spMk id="413697" creationId="{00000000-0000-0000-0000-000000000000}"/>
          </ac:spMkLst>
        </pc:spChg>
        <pc:spChg chg="mod">
          <ac:chgData name="Pinto Retamal, Rodrigo Enrique" userId="09b922dc-e301-4f7a-90fe-e924f95e94b9" providerId="ADAL" clId="{AAD99E02-1FAF-434B-BD74-F81CF4188FB5}" dt="2021-05-04T15:46:47.945" v="2595" actId="1076"/>
          <ac:spMkLst>
            <pc:docMk/>
            <pc:sldMk cId="4240280144" sldId="682"/>
            <ac:spMk id="413698" creationId="{00000000-0000-0000-0000-000000000000}"/>
          </ac:spMkLst>
        </pc:spChg>
        <pc:grpChg chg="mod">
          <ac:chgData name="Pinto Retamal, Rodrigo Enrique" userId="09b922dc-e301-4f7a-90fe-e924f95e94b9" providerId="ADAL" clId="{AAD99E02-1FAF-434B-BD74-F81CF4188FB5}" dt="2021-05-04T15:46:53.081" v="2598" actId="1076"/>
          <ac:grpSpMkLst>
            <pc:docMk/>
            <pc:sldMk cId="4240280144" sldId="682"/>
            <ac:grpSpMk id="9" creationId="{00000000-0000-0000-0000-000000000000}"/>
          </ac:grpSpMkLst>
        </pc:grpChg>
        <pc:picChg chg="mod">
          <ac:chgData name="Pinto Retamal, Rodrigo Enrique" userId="09b922dc-e301-4f7a-90fe-e924f95e94b9" providerId="ADAL" clId="{AAD99E02-1FAF-434B-BD74-F81CF4188FB5}" dt="2021-05-04T15:46:49.511" v="2597" actId="1076"/>
          <ac:picMkLst>
            <pc:docMk/>
            <pc:sldMk cId="4240280144" sldId="682"/>
            <ac:picMk id="5" creationId="{00000000-0000-0000-0000-000000000000}"/>
          </ac:picMkLst>
        </pc:picChg>
      </pc:sldChg>
      <pc:sldChg chg="addSp delSp modSp add ord">
        <pc:chgData name="Pinto Retamal, Rodrigo Enrique" userId="09b922dc-e301-4f7a-90fe-e924f95e94b9" providerId="ADAL" clId="{AAD99E02-1FAF-434B-BD74-F81CF4188FB5}" dt="2021-05-04T19:13:41.069" v="3120" actId="20577"/>
        <pc:sldMkLst>
          <pc:docMk/>
          <pc:sldMk cId="4250902793" sldId="683"/>
        </pc:sldMkLst>
        <pc:spChg chg="del">
          <ac:chgData name="Pinto Retamal, Rodrigo Enrique" userId="09b922dc-e301-4f7a-90fe-e924f95e94b9" providerId="ADAL" clId="{AAD99E02-1FAF-434B-BD74-F81CF4188FB5}" dt="2021-05-04T16:00:26.965" v="3073" actId="478"/>
          <ac:spMkLst>
            <pc:docMk/>
            <pc:sldMk cId="4250902793" sldId="683"/>
            <ac:spMk id="3" creationId="{B66A9C12-4F7B-4232-9B92-87BC7EBB9486}"/>
          </ac:spMkLst>
        </pc:spChg>
        <pc:spChg chg="mod">
          <ac:chgData name="Pinto Retamal, Rodrigo Enrique" userId="09b922dc-e301-4f7a-90fe-e924f95e94b9" providerId="ADAL" clId="{AAD99E02-1FAF-434B-BD74-F81CF4188FB5}" dt="2021-05-04T19:13:41.069" v="3120" actId="20577"/>
          <ac:spMkLst>
            <pc:docMk/>
            <pc:sldMk cId="4250902793" sldId="683"/>
            <ac:spMk id="10" creationId="{188F7E02-E3B0-E243-B6C7-271683C98156}"/>
          </ac:spMkLst>
        </pc:spChg>
        <pc:spChg chg="mod">
          <ac:chgData name="Pinto Retamal, Rodrigo Enrique" userId="09b922dc-e301-4f7a-90fe-e924f95e94b9" providerId="ADAL" clId="{AAD99E02-1FAF-434B-BD74-F81CF4188FB5}" dt="2021-05-04T15:53:12.353" v="2621" actId="20577"/>
          <ac:spMkLst>
            <pc:docMk/>
            <pc:sldMk cId="4250902793" sldId="683"/>
            <ac:spMk id="25" creationId="{895E7C57-E423-7444-A1F9-CACBB7D8C0FB}"/>
          </ac:spMkLst>
        </pc:spChg>
        <pc:picChg chg="add mod modCrop">
          <ac:chgData name="Pinto Retamal, Rodrigo Enrique" userId="09b922dc-e301-4f7a-90fe-e924f95e94b9" providerId="ADAL" clId="{AAD99E02-1FAF-434B-BD74-F81CF4188FB5}" dt="2021-05-04T19:12:56.777" v="3096" actId="208"/>
          <ac:picMkLst>
            <pc:docMk/>
            <pc:sldMk cId="4250902793" sldId="683"/>
            <ac:picMk id="4" creationId="{A5E82E6B-F7BE-4D54-B848-B37D6212F5E6}"/>
          </ac:picMkLst>
        </pc:picChg>
        <pc:picChg chg="del">
          <ac:chgData name="Pinto Retamal, Rodrigo Enrique" userId="09b922dc-e301-4f7a-90fe-e924f95e94b9" providerId="ADAL" clId="{AAD99E02-1FAF-434B-BD74-F81CF4188FB5}" dt="2021-05-04T15:53:19.913" v="2623" actId="478"/>
          <ac:picMkLst>
            <pc:docMk/>
            <pc:sldMk cId="4250902793" sldId="683"/>
            <ac:picMk id="7" creationId="{C9CB797B-6231-4F9D-9826-676A43E788A0}"/>
          </ac:picMkLst>
        </pc:picChg>
        <pc:picChg chg="del">
          <ac:chgData name="Pinto Retamal, Rodrigo Enrique" userId="09b922dc-e301-4f7a-90fe-e924f95e94b9" providerId="ADAL" clId="{AAD99E02-1FAF-434B-BD74-F81CF4188FB5}" dt="2021-05-04T15:53:19.107" v="2622" actId="478"/>
          <ac:picMkLst>
            <pc:docMk/>
            <pc:sldMk cId="4250902793" sldId="683"/>
            <ac:picMk id="8" creationId="{3E1EF432-F9E4-416C-85AD-EA2765D6754E}"/>
          </ac:picMkLst>
        </pc:picChg>
        <pc:picChg chg="del">
          <ac:chgData name="Pinto Retamal, Rodrigo Enrique" userId="09b922dc-e301-4f7a-90fe-e924f95e94b9" providerId="ADAL" clId="{AAD99E02-1FAF-434B-BD74-F81CF4188FB5}" dt="2021-05-04T15:53:20.615" v="2624" actId="478"/>
          <ac:picMkLst>
            <pc:docMk/>
            <pc:sldMk cId="4250902793" sldId="683"/>
            <ac:picMk id="19461" creationId="{B0DBB5B9-AFC6-45C6-BDBD-218653036439}"/>
          </ac:picMkLst>
        </pc:picChg>
      </pc:sldChg>
      <pc:sldChg chg="addSp delSp modSp add">
        <pc:chgData name="Pinto Retamal, Rodrigo Enrique" userId="09b922dc-e301-4f7a-90fe-e924f95e94b9" providerId="ADAL" clId="{AAD99E02-1FAF-434B-BD74-F81CF4188FB5}" dt="2021-05-04T19:27:15.254" v="3465" actId="1076"/>
        <pc:sldMkLst>
          <pc:docMk/>
          <pc:sldMk cId="270397944" sldId="684"/>
        </pc:sldMkLst>
        <pc:spChg chg="del">
          <ac:chgData name="Pinto Retamal, Rodrigo Enrique" userId="09b922dc-e301-4f7a-90fe-e924f95e94b9" providerId="ADAL" clId="{AAD99E02-1FAF-434B-BD74-F81CF4188FB5}" dt="2021-05-04T19:22:57.664" v="3122" actId="478"/>
          <ac:spMkLst>
            <pc:docMk/>
            <pc:sldMk cId="270397944" sldId="684"/>
            <ac:spMk id="18" creationId="{2482FFCF-7CAE-4293-8FC9-73A643CC02A0}"/>
          </ac:spMkLst>
        </pc:spChg>
        <pc:spChg chg="del">
          <ac:chgData name="Pinto Retamal, Rodrigo Enrique" userId="09b922dc-e301-4f7a-90fe-e924f95e94b9" providerId="ADAL" clId="{AAD99E02-1FAF-434B-BD74-F81CF4188FB5}" dt="2021-05-04T19:22:57.664" v="3122" actId="478"/>
          <ac:spMkLst>
            <pc:docMk/>
            <pc:sldMk cId="270397944" sldId="684"/>
            <ac:spMk id="19" creationId="{B099E1D2-023C-4309-BFED-D64E07CD0E5C}"/>
          </ac:spMkLst>
        </pc:spChg>
        <pc:spChg chg="del">
          <ac:chgData name="Pinto Retamal, Rodrigo Enrique" userId="09b922dc-e301-4f7a-90fe-e924f95e94b9" providerId="ADAL" clId="{AAD99E02-1FAF-434B-BD74-F81CF4188FB5}" dt="2021-05-04T19:22:57.664" v="3122" actId="478"/>
          <ac:spMkLst>
            <pc:docMk/>
            <pc:sldMk cId="270397944" sldId="684"/>
            <ac:spMk id="20" creationId="{CC0EA4D9-FAF3-42A1-9CF2-BFCBBE53DBD2}"/>
          </ac:spMkLst>
        </pc:spChg>
        <pc:spChg chg="del">
          <ac:chgData name="Pinto Retamal, Rodrigo Enrique" userId="09b922dc-e301-4f7a-90fe-e924f95e94b9" providerId="ADAL" clId="{AAD99E02-1FAF-434B-BD74-F81CF4188FB5}" dt="2021-05-04T19:22:57.664" v="3122" actId="478"/>
          <ac:spMkLst>
            <pc:docMk/>
            <pc:sldMk cId="270397944" sldId="684"/>
            <ac:spMk id="21" creationId="{84A0D167-68DA-41AA-945C-4898C99FE27F}"/>
          </ac:spMkLst>
        </pc:spChg>
        <pc:spChg chg="del">
          <ac:chgData name="Pinto Retamal, Rodrigo Enrique" userId="09b922dc-e301-4f7a-90fe-e924f95e94b9" providerId="ADAL" clId="{AAD99E02-1FAF-434B-BD74-F81CF4188FB5}" dt="2021-05-04T19:22:57.664" v="3122" actId="478"/>
          <ac:spMkLst>
            <pc:docMk/>
            <pc:sldMk cId="270397944" sldId="684"/>
            <ac:spMk id="22" creationId="{A0CD4BE5-CA24-4666-BF13-DE6D7EEF9ED9}"/>
          </ac:spMkLst>
        </pc:spChg>
        <pc:spChg chg="del">
          <ac:chgData name="Pinto Retamal, Rodrigo Enrique" userId="09b922dc-e301-4f7a-90fe-e924f95e94b9" providerId="ADAL" clId="{AAD99E02-1FAF-434B-BD74-F81CF4188FB5}" dt="2021-05-04T19:22:57.664" v="3122" actId="478"/>
          <ac:spMkLst>
            <pc:docMk/>
            <pc:sldMk cId="270397944" sldId="684"/>
            <ac:spMk id="23" creationId="{CAE8707B-F5FD-410F-A93E-3CDE34834C9D}"/>
          </ac:spMkLst>
        </pc:spChg>
        <pc:spChg chg="del">
          <ac:chgData name="Pinto Retamal, Rodrigo Enrique" userId="09b922dc-e301-4f7a-90fe-e924f95e94b9" providerId="ADAL" clId="{AAD99E02-1FAF-434B-BD74-F81CF4188FB5}" dt="2021-05-04T19:22:57.664" v="3122" actId="478"/>
          <ac:spMkLst>
            <pc:docMk/>
            <pc:sldMk cId="270397944" sldId="684"/>
            <ac:spMk id="26" creationId="{174AE6FF-94B5-4260-8B64-4D7017FF9427}"/>
          </ac:spMkLst>
        </pc:spChg>
        <pc:spChg chg="del">
          <ac:chgData name="Pinto Retamal, Rodrigo Enrique" userId="09b922dc-e301-4f7a-90fe-e924f95e94b9" providerId="ADAL" clId="{AAD99E02-1FAF-434B-BD74-F81CF4188FB5}" dt="2021-05-04T19:22:57.664" v="3122" actId="478"/>
          <ac:spMkLst>
            <pc:docMk/>
            <pc:sldMk cId="270397944" sldId="684"/>
            <ac:spMk id="27" creationId="{BF88F3BF-A329-49EE-8AD0-6C3D569E0CEF}"/>
          </ac:spMkLst>
        </pc:spChg>
        <pc:spChg chg="del">
          <ac:chgData name="Pinto Retamal, Rodrigo Enrique" userId="09b922dc-e301-4f7a-90fe-e924f95e94b9" providerId="ADAL" clId="{AAD99E02-1FAF-434B-BD74-F81CF4188FB5}" dt="2021-05-04T19:22:57.664" v="3122" actId="478"/>
          <ac:spMkLst>
            <pc:docMk/>
            <pc:sldMk cId="270397944" sldId="684"/>
            <ac:spMk id="28" creationId="{D9A267E5-AE46-4205-818A-6EEA7FC56286}"/>
          </ac:spMkLst>
        </pc:spChg>
        <pc:spChg chg="del">
          <ac:chgData name="Pinto Retamal, Rodrigo Enrique" userId="09b922dc-e301-4f7a-90fe-e924f95e94b9" providerId="ADAL" clId="{AAD99E02-1FAF-434B-BD74-F81CF4188FB5}" dt="2021-05-04T19:22:57.664" v="3122" actId="478"/>
          <ac:spMkLst>
            <pc:docMk/>
            <pc:sldMk cId="270397944" sldId="684"/>
            <ac:spMk id="29" creationId="{7A5A65CE-7A51-4706-8A33-A26F7CCD1951}"/>
          </ac:spMkLst>
        </pc:spChg>
        <pc:spChg chg="del">
          <ac:chgData name="Pinto Retamal, Rodrigo Enrique" userId="09b922dc-e301-4f7a-90fe-e924f95e94b9" providerId="ADAL" clId="{AAD99E02-1FAF-434B-BD74-F81CF4188FB5}" dt="2021-05-04T19:22:57.664" v="3122" actId="478"/>
          <ac:spMkLst>
            <pc:docMk/>
            <pc:sldMk cId="270397944" sldId="684"/>
            <ac:spMk id="30" creationId="{B1FAB836-0D25-421E-AE0F-F1036A4B5D8C}"/>
          </ac:spMkLst>
        </pc:spChg>
        <pc:spChg chg="add mod">
          <ac:chgData name="Pinto Retamal, Rodrigo Enrique" userId="09b922dc-e301-4f7a-90fe-e924f95e94b9" providerId="ADAL" clId="{AAD99E02-1FAF-434B-BD74-F81CF4188FB5}" dt="2021-05-04T19:27:15.254" v="3465" actId="1076"/>
          <ac:spMkLst>
            <pc:docMk/>
            <pc:sldMk cId="270397944" sldId="684"/>
            <ac:spMk id="31" creationId="{D582E45B-CA61-4E36-9E76-29279D65EF54}"/>
          </ac:spMkLst>
        </pc:spChg>
        <pc:picChg chg="add mod">
          <ac:chgData name="Pinto Retamal, Rodrigo Enrique" userId="09b922dc-e301-4f7a-90fe-e924f95e94b9" providerId="ADAL" clId="{AAD99E02-1FAF-434B-BD74-F81CF4188FB5}" dt="2021-05-04T19:23:49.707" v="3131" actId="1076"/>
          <ac:picMkLst>
            <pc:docMk/>
            <pc:sldMk cId="270397944" sldId="684"/>
            <ac:picMk id="17" creationId="{AE75711C-53E3-4E55-9207-7E0C75B5F166}"/>
          </ac:picMkLst>
        </pc:picChg>
      </pc:sldChg>
      <pc:sldChg chg="addSp delSp modSp add">
        <pc:chgData name="Pinto Retamal, Rodrigo Enrique" userId="09b922dc-e301-4f7a-90fe-e924f95e94b9" providerId="ADAL" clId="{AAD99E02-1FAF-434B-BD74-F81CF4188FB5}" dt="2021-05-04T19:41:54.521" v="3894" actId="20577"/>
        <pc:sldMkLst>
          <pc:docMk/>
          <pc:sldMk cId="3200962390" sldId="685"/>
        </pc:sldMkLst>
        <pc:spChg chg="add mod">
          <ac:chgData name="Pinto Retamal, Rodrigo Enrique" userId="09b922dc-e301-4f7a-90fe-e924f95e94b9" providerId="ADAL" clId="{AAD99E02-1FAF-434B-BD74-F81CF4188FB5}" dt="2021-05-04T19:33:51.003" v="3593" actId="1038"/>
          <ac:spMkLst>
            <pc:docMk/>
            <pc:sldMk cId="3200962390" sldId="685"/>
            <ac:spMk id="8" creationId="{AF84D162-3F4C-45C9-B755-08881DACFE15}"/>
          </ac:spMkLst>
        </pc:spChg>
        <pc:spChg chg="add mod">
          <ac:chgData name="Pinto Retamal, Rodrigo Enrique" userId="09b922dc-e301-4f7a-90fe-e924f95e94b9" providerId="ADAL" clId="{AAD99E02-1FAF-434B-BD74-F81CF4188FB5}" dt="2021-05-04T19:41:54.521" v="3894" actId="20577"/>
          <ac:spMkLst>
            <pc:docMk/>
            <pc:sldMk cId="3200962390" sldId="685"/>
            <ac:spMk id="9" creationId="{72D07ACB-1625-460F-9286-063B8514E0ED}"/>
          </ac:spMkLst>
        </pc:spChg>
        <pc:spChg chg="mod">
          <ac:chgData name="Pinto Retamal, Rodrigo Enrique" userId="09b922dc-e301-4f7a-90fe-e924f95e94b9" providerId="ADAL" clId="{AAD99E02-1FAF-434B-BD74-F81CF4188FB5}" dt="2021-05-04T19:32:50.206" v="3519" actId="20577"/>
          <ac:spMkLst>
            <pc:docMk/>
            <pc:sldMk cId="3200962390" sldId="685"/>
            <ac:spMk id="25" creationId="{895E7C57-E423-7444-A1F9-CACBB7D8C0FB}"/>
          </ac:spMkLst>
        </pc:spChg>
        <pc:spChg chg="mod">
          <ac:chgData name="Pinto Retamal, Rodrigo Enrique" userId="09b922dc-e301-4f7a-90fe-e924f95e94b9" providerId="ADAL" clId="{AAD99E02-1FAF-434B-BD74-F81CF4188FB5}" dt="2021-05-04T19:38:18.069" v="3837" actId="1076"/>
          <ac:spMkLst>
            <pc:docMk/>
            <pc:sldMk cId="3200962390" sldId="685"/>
            <ac:spMk id="31" creationId="{D582E45B-CA61-4E36-9E76-29279D65EF54}"/>
          </ac:spMkLst>
        </pc:spChg>
        <pc:picChg chg="add mod">
          <ac:chgData name="Pinto Retamal, Rodrigo Enrique" userId="09b922dc-e301-4f7a-90fe-e924f95e94b9" providerId="ADAL" clId="{AAD99E02-1FAF-434B-BD74-F81CF4188FB5}" dt="2021-05-04T19:33:51.003" v="3593" actId="1038"/>
          <ac:picMkLst>
            <pc:docMk/>
            <pc:sldMk cId="3200962390" sldId="685"/>
            <ac:picMk id="10" creationId="{7813D341-0450-4CD2-AA31-CAA7CAFB469E}"/>
          </ac:picMkLst>
        </pc:picChg>
        <pc:picChg chg="add mod">
          <ac:chgData name="Pinto Retamal, Rodrigo Enrique" userId="09b922dc-e301-4f7a-90fe-e924f95e94b9" providerId="ADAL" clId="{AAD99E02-1FAF-434B-BD74-F81CF4188FB5}" dt="2021-05-04T19:38:13.262" v="3836" actId="1076"/>
          <ac:picMkLst>
            <pc:docMk/>
            <pc:sldMk cId="3200962390" sldId="685"/>
            <ac:picMk id="11" creationId="{3F7199F1-5D7B-4AA7-B5DA-B5D024EA6D33}"/>
          </ac:picMkLst>
        </pc:picChg>
        <pc:picChg chg="add mod">
          <ac:chgData name="Pinto Retamal, Rodrigo Enrique" userId="09b922dc-e301-4f7a-90fe-e924f95e94b9" providerId="ADAL" clId="{AAD99E02-1FAF-434B-BD74-F81CF4188FB5}" dt="2021-05-04T19:33:51.003" v="3593" actId="1038"/>
          <ac:picMkLst>
            <pc:docMk/>
            <pc:sldMk cId="3200962390" sldId="685"/>
            <ac:picMk id="12" creationId="{78A33A8E-5668-4A28-86BA-65900C8F70B9}"/>
          </ac:picMkLst>
        </pc:picChg>
        <pc:picChg chg="add mod">
          <ac:chgData name="Pinto Retamal, Rodrigo Enrique" userId="09b922dc-e301-4f7a-90fe-e924f95e94b9" providerId="ADAL" clId="{AAD99E02-1FAF-434B-BD74-F81CF4188FB5}" dt="2021-05-04T19:33:51.003" v="3593" actId="1038"/>
          <ac:picMkLst>
            <pc:docMk/>
            <pc:sldMk cId="3200962390" sldId="685"/>
            <ac:picMk id="13" creationId="{830288B1-75ED-4F7E-9AC5-E3D94160F516}"/>
          </ac:picMkLst>
        </pc:picChg>
        <pc:picChg chg="del">
          <ac:chgData name="Pinto Retamal, Rodrigo Enrique" userId="09b922dc-e301-4f7a-90fe-e924f95e94b9" providerId="ADAL" clId="{AAD99E02-1FAF-434B-BD74-F81CF4188FB5}" dt="2021-05-04T19:31:31.892" v="3470" actId="478"/>
          <ac:picMkLst>
            <pc:docMk/>
            <pc:sldMk cId="3200962390" sldId="685"/>
            <ac:picMk id="17" creationId="{AE75711C-53E3-4E55-9207-7E0C75B5F166}"/>
          </ac:picMkLst>
        </pc:picChg>
      </pc:sldChg>
      <pc:sldChg chg="addSp delSp modSp add modAnim">
        <pc:chgData name="Pinto Retamal, Rodrigo Enrique" userId="09b922dc-e301-4f7a-90fe-e924f95e94b9" providerId="ADAL" clId="{AAD99E02-1FAF-434B-BD74-F81CF4188FB5}" dt="2021-05-04T19:43:44.683" v="3905" actId="1076"/>
        <pc:sldMkLst>
          <pc:docMk/>
          <pc:sldMk cId="3403676980" sldId="686"/>
        </pc:sldMkLst>
        <pc:spChg chg="del">
          <ac:chgData name="Pinto Retamal, Rodrigo Enrique" userId="09b922dc-e301-4f7a-90fe-e924f95e94b9" providerId="ADAL" clId="{AAD99E02-1FAF-434B-BD74-F81CF4188FB5}" dt="2021-05-04T19:38:36.853" v="3840" actId="478"/>
          <ac:spMkLst>
            <pc:docMk/>
            <pc:sldMk cId="3403676980" sldId="686"/>
            <ac:spMk id="8" creationId="{AF84D162-3F4C-45C9-B755-08881DACFE15}"/>
          </ac:spMkLst>
        </pc:spChg>
        <pc:spChg chg="del">
          <ac:chgData name="Pinto Retamal, Rodrigo Enrique" userId="09b922dc-e301-4f7a-90fe-e924f95e94b9" providerId="ADAL" clId="{AAD99E02-1FAF-434B-BD74-F81CF4188FB5}" dt="2021-05-04T19:38:36.853" v="3840" actId="478"/>
          <ac:spMkLst>
            <pc:docMk/>
            <pc:sldMk cId="3403676980" sldId="686"/>
            <ac:spMk id="9" creationId="{72D07ACB-1625-460F-9286-063B8514E0ED}"/>
          </ac:spMkLst>
        </pc:spChg>
        <pc:spChg chg="add mod">
          <ac:chgData name="Pinto Retamal, Rodrigo Enrique" userId="09b922dc-e301-4f7a-90fe-e924f95e94b9" providerId="ADAL" clId="{AAD99E02-1FAF-434B-BD74-F81CF4188FB5}" dt="2021-05-04T19:40:28.422" v="3891" actId="1035"/>
          <ac:spMkLst>
            <pc:docMk/>
            <pc:sldMk cId="3403676980" sldId="686"/>
            <ac:spMk id="14" creationId="{9C5B4ED3-39EB-4172-A3F8-0CE309F6A5E1}"/>
          </ac:spMkLst>
        </pc:spChg>
        <pc:spChg chg="add mod">
          <ac:chgData name="Pinto Retamal, Rodrigo Enrique" userId="09b922dc-e301-4f7a-90fe-e924f95e94b9" providerId="ADAL" clId="{AAD99E02-1FAF-434B-BD74-F81CF4188FB5}" dt="2021-05-04T19:42:01.537" v="3897" actId="20577"/>
          <ac:spMkLst>
            <pc:docMk/>
            <pc:sldMk cId="3403676980" sldId="686"/>
            <ac:spMk id="15" creationId="{1948AE05-3AAD-4B33-88C6-BCB03E654624}"/>
          </ac:spMkLst>
        </pc:spChg>
        <pc:spChg chg="add mod">
          <ac:chgData name="Pinto Retamal, Rodrigo Enrique" userId="09b922dc-e301-4f7a-90fe-e924f95e94b9" providerId="ADAL" clId="{AAD99E02-1FAF-434B-BD74-F81CF4188FB5}" dt="2021-05-04T19:40:28.422" v="3891" actId="1035"/>
          <ac:spMkLst>
            <pc:docMk/>
            <pc:sldMk cId="3403676980" sldId="686"/>
            <ac:spMk id="17" creationId="{FC084553-AA92-442E-9C72-53BFEB65D818}"/>
          </ac:spMkLst>
        </pc:spChg>
        <pc:spChg chg="del">
          <ac:chgData name="Pinto Retamal, Rodrigo Enrique" userId="09b922dc-e301-4f7a-90fe-e924f95e94b9" providerId="ADAL" clId="{AAD99E02-1FAF-434B-BD74-F81CF4188FB5}" dt="2021-05-04T19:38:39.076" v="3841" actId="478"/>
          <ac:spMkLst>
            <pc:docMk/>
            <pc:sldMk cId="3403676980" sldId="686"/>
            <ac:spMk id="31" creationId="{D582E45B-CA61-4E36-9E76-29279D65EF54}"/>
          </ac:spMkLst>
        </pc:spChg>
        <pc:spChg chg="add mod">
          <ac:chgData name="Pinto Retamal, Rodrigo Enrique" userId="09b922dc-e301-4f7a-90fe-e924f95e94b9" providerId="ADAL" clId="{AAD99E02-1FAF-434B-BD74-F81CF4188FB5}" dt="2021-05-04T19:40:28.422" v="3891" actId="1035"/>
          <ac:spMkLst>
            <pc:docMk/>
            <pc:sldMk cId="3403676980" sldId="686"/>
            <ac:spMk id="34" creationId="{1A25B276-E861-4F4B-83D1-87718BB31B23}"/>
          </ac:spMkLst>
        </pc:spChg>
        <pc:spChg chg="add mod">
          <ac:chgData name="Pinto Retamal, Rodrigo Enrique" userId="09b922dc-e301-4f7a-90fe-e924f95e94b9" providerId="ADAL" clId="{AAD99E02-1FAF-434B-BD74-F81CF4188FB5}" dt="2021-05-04T19:40:28.422" v="3891" actId="1035"/>
          <ac:spMkLst>
            <pc:docMk/>
            <pc:sldMk cId="3403676980" sldId="686"/>
            <ac:spMk id="35" creationId="{EBD115BA-E95A-4694-89E7-C987B8830919}"/>
          </ac:spMkLst>
        </pc:spChg>
        <pc:spChg chg="add mod">
          <ac:chgData name="Pinto Retamal, Rodrigo Enrique" userId="09b922dc-e301-4f7a-90fe-e924f95e94b9" providerId="ADAL" clId="{AAD99E02-1FAF-434B-BD74-F81CF4188FB5}" dt="2021-05-04T19:40:28.422" v="3891" actId="1035"/>
          <ac:spMkLst>
            <pc:docMk/>
            <pc:sldMk cId="3403676980" sldId="686"/>
            <ac:spMk id="36" creationId="{16EFB687-3CAE-4EC1-BE37-7A74AB833992}"/>
          </ac:spMkLst>
        </pc:spChg>
        <pc:spChg chg="add mod">
          <ac:chgData name="Pinto Retamal, Rodrigo Enrique" userId="09b922dc-e301-4f7a-90fe-e924f95e94b9" providerId="ADAL" clId="{AAD99E02-1FAF-434B-BD74-F81CF4188FB5}" dt="2021-05-04T19:40:28.422" v="3891" actId="1035"/>
          <ac:spMkLst>
            <pc:docMk/>
            <pc:sldMk cId="3403676980" sldId="686"/>
            <ac:spMk id="37" creationId="{47AFF2D4-E2CD-4EC9-8B20-402A9153A7F9}"/>
          </ac:spMkLst>
        </pc:spChg>
        <pc:spChg chg="add mod">
          <ac:chgData name="Pinto Retamal, Rodrigo Enrique" userId="09b922dc-e301-4f7a-90fe-e924f95e94b9" providerId="ADAL" clId="{AAD99E02-1FAF-434B-BD74-F81CF4188FB5}" dt="2021-05-04T19:40:28.422" v="3891" actId="1035"/>
          <ac:spMkLst>
            <pc:docMk/>
            <pc:sldMk cId="3403676980" sldId="686"/>
            <ac:spMk id="38" creationId="{7D228398-E9D2-4CC1-AF6F-2DFEB9042514}"/>
          </ac:spMkLst>
        </pc:spChg>
        <pc:spChg chg="add mod">
          <ac:chgData name="Pinto Retamal, Rodrigo Enrique" userId="09b922dc-e301-4f7a-90fe-e924f95e94b9" providerId="ADAL" clId="{AAD99E02-1FAF-434B-BD74-F81CF4188FB5}" dt="2021-05-04T19:43:44.683" v="3905" actId="1076"/>
          <ac:spMkLst>
            <pc:docMk/>
            <pc:sldMk cId="3403676980" sldId="686"/>
            <ac:spMk id="39" creationId="{6D4003F0-D96B-4504-A00C-131999C04FDF}"/>
          </ac:spMkLst>
        </pc:spChg>
        <pc:grpChg chg="add mod">
          <ac:chgData name="Pinto Retamal, Rodrigo Enrique" userId="09b922dc-e301-4f7a-90fe-e924f95e94b9" providerId="ADAL" clId="{AAD99E02-1FAF-434B-BD74-F81CF4188FB5}" dt="2021-05-04T19:40:28.422" v="3891" actId="1035"/>
          <ac:grpSpMkLst>
            <pc:docMk/>
            <pc:sldMk cId="3403676980" sldId="686"/>
            <ac:grpSpMk id="18" creationId="{542C12A3-CF8F-4B7F-BD2C-5EC4A386B70F}"/>
          </ac:grpSpMkLst>
        </pc:grpChg>
        <pc:grpChg chg="add mod">
          <ac:chgData name="Pinto Retamal, Rodrigo Enrique" userId="09b922dc-e301-4f7a-90fe-e924f95e94b9" providerId="ADAL" clId="{AAD99E02-1FAF-434B-BD74-F81CF4188FB5}" dt="2021-05-04T19:40:28.422" v="3891" actId="1035"/>
          <ac:grpSpMkLst>
            <pc:docMk/>
            <pc:sldMk cId="3403676980" sldId="686"/>
            <ac:grpSpMk id="21" creationId="{C2518ED7-591A-4499-84F5-F79638F4FD6A}"/>
          </ac:grpSpMkLst>
        </pc:grpChg>
        <pc:grpChg chg="add mod">
          <ac:chgData name="Pinto Retamal, Rodrigo Enrique" userId="09b922dc-e301-4f7a-90fe-e924f95e94b9" providerId="ADAL" clId="{AAD99E02-1FAF-434B-BD74-F81CF4188FB5}" dt="2021-05-04T19:40:28.422" v="3891" actId="1035"/>
          <ac:grpSpMkLst>
            <pc:docMk/>
            <pc:sldMk cId="3403676980" sldId="686"/>
            <ac:grpSpMk id="26" creationId="{BF7B8B2A-403C-44E2-AA43-3463AF545E26}"/>
          </ac:grpSpMkLst>
        </pc:grpChg>
        <pc:grpChg chg="add mod">
          <ac:chgData name="Pinto Retamal, Rodrigo Enrique" userId="09b922dc-e301-4f7a-90fe-e924f95e94b9" providerId="ADAL" clId="{AAD99E02-1FAF-434B-BD74-F81CF4188FB5}" dt="2021-05-04T19:40:28.422" v="3891" actId="1035"/>
          <ac:grpSpMkLst>
            <pc:docMk/>
            <pc:sldMk cId="3403676980" sldId="686"/>
            <ac:grpSpMk id="29" creationId="{03B83E7B-E1D6-4681-BAB2-38F8D602DEB4}"/>
          </ac:grpSpMkLst>
        </pc:grpChg>
        <pc:picChg chg="del">
          <ac:chgData name="Pinto Retamal, Rodrigo Enrique" userId="09b922dc-e301-4f7a-90fe-e924f95e94b9" providerId="ADAL" clId="{AAD99E02-1FAF-434B-BD74-F81CF4188FB5}" dt="2021-05-04T19:38:36.853" v="3840" actId="478"/>
          <ac:picMkLst>
            <pc:docMk/>
            <pc:sldMk cId="3403676980" sldId="686"/>
            <ac:picMk id="10" creationId="{7813D341-0450-4CD2-AA31-CAA7CAFB469E}"/>
          </ac:picMkLst>
        </pc:picChg>
        <pc:picChg chg="del">
          <ac:chgData name="Pinto Retamal, Rodrigo Enrique" userId="09b922dc-e301-4f7a-90fe-e924f95e94b9" providerId="ADAL" clId="{AAD99E02-1FAF-434B-BD74-F81CF4188FB5}" dt="2021-05-04T19:38:33.543" v="3839" actId="478"/>
          <ac:picMkLst>
            <pc:docMk/>
            <pc:sldMk cId="3403676980" sldId="686"/>
            <ac:picMk id="11" creationId="{3F7199F1-5D7B-4AA7-B5DA-B5D024EA6D33}"/>
          </ac:picMkLst>
        </pc:picChg>
        <pc:picChg chg="del">
          <ac:chgData name="Pinto Retamal, Rodrigo Enrique" userId="09b922dc-e301-4f7a-90fe-e924f95e94b9" providerId="ADAL" clId="{AAD99E02-1FAF-434B-BD74-F81CF4188FB5}" dt="2021-05-04T19:38:36.853" v="3840" actId="478"/>
          <ac:picMkLst>
            <pc:docMk/>
            <pc:sldMk cId="3403676980" sldId="686"/>
            <ac:picMk id="12" creationId="{78A33A8E-5668-4A28-86BA-65900C8F70B9}"/>
          </ac:picMkLst>
        </pc:picChg>
        <pc:picChg chg="del">
          <ac:chgData name="Pinto Retamal, Rodrigo Enrique" userId="09b922dc-e301-4f7a-90fe-e924f95e94b9" providerId="ADAL" clId="{AAD99E02-1FAF-434B-BD74-F81CF4188FB5}" dt="2021-05-04T19:38:36.853" v="3840" actId="478"/>
          <ac:picMkLst>
            <pc:docMk/>
            <pc:sldMk cId="3403676980" sldId="686"/>
            <ac:picMk id="13" creationId="{830288B1-75ED-4F7E-9AC5-E3D94160F516}"/>
          </ac:picMkLst>
        </pc:picChg>
        <pc:picChg chg="add mod">
          <ac:chgData name="Pinto Retamal, Rodrigo Enrique" userId="09b922dc-e301-4f7a-90fe-e924f95e94b9" providerId="ADAL" clId="{AAD99E02-1FAF-434B-BD74-F81CF4188FB5}" dt="2021-05-04T19:40:28.422" v="3891" actId="1035"/>
          <ac:picMkLst>
            <pc:docMk/>
            <pc:sldMk cId="3403676980" sldId="686"/>
            <ac:picMk id="16" creationId="{EE343728-8673-464A-9E5B-97133D17161C}"/>
          </ac:picMkLst>
        </pc:picChg>
      </pc:sldChg>
      <pc:sldChg chg="addSp delSp modSp add delAnim modAnim">
        <pc:chgData name="Pinto Retamal, Rodrigo Enrique" userId="09b922dc-e301-4f7a-90fe-e924f95e94b9" providerId="ADAL" clId="{AAD99E02-1FAF-434B-BD74-F81CF4188FB5}" dt="2021-05-04T19:56:48.708" v="4291" actId="1076"/>
        <pc:sldMkLst>
          <pc:docMk/>
          <pc:sldMk cId="4061302745" sldId="687"/>
        </pc:sldMkLst>
        <pc:spChg chg="del">
          <ac:chgData name="Pinto Retamal, Rodrigo Enrique" userId="09b922dc-e301-4f7a-90fe-e924f95e94b9" providerId="ADAL" clId="{AAD99E02-1FAF-434B-BD74-F81CF4188FB5}" dt="2021-05-04T19:55:22.959" v="4227" actId="478"/>
          <ac:spMkLst>
            <pc:docMk/>
            <pc:sldMk cId="4061302745" sldId="687"/>
            <ac:spMk id="8" creationId="{8D00FF92-9138-42EF-8A4D-364A7879372A}"/>
          </ac:spMkLst>
        </pc:spChg>
        <pc:spChg chg="del">
          <ac:chgData name="Pinto Retamal, Rodrigo Enrique" userId="09b922dc-e301-4f7a-90fe-e924f95e94b9" providerId="ADAL" clId="{AAD99E02-1FAF-434B-BD74-F81CF4188FB5}" dt="2021-05-04T19:55:22.959" v="4227" actId="478"/>
          <ac:spMkLst>
            <pc:docMk/>
            <pc:sldMk cId="4061302745" sldId="687"/>
            <ac:spMk id="9" creationId="{C724A74C-33E5-4824-AE07-FD2E63857537}"/>
          </ac:spMkLst>
        </pc:spChg>
        <pc:spChg chg="del">
          <ac:chgData name="Pinto Retamal, Rodrigo Enrique" userId="09b922dc-e301-4f7a-90fe-e924f95e94b9" providerId="ADAL" clId="{AAD99E02-1FAF-434B-BD74-F81CF4188FB5}" dt="2021-05-04T19:55:22.959" v="4227" actId="478"/>
          <ac:spMkLst>
            <pc:docMk/>
            <pc:sldMk cId="4061302745" sldId="687"/>
            <ac:spMk id="10" creationId="{08CCF7F0-3D53-4DDB-831A-8B97EEB7A010}"/>
          </ac:spMkLst>
        </pc:spChg>
        <pc:spChg chg="del">
          <ac:chgData name="Pinto Retamal, Rodrigo Enrique" userId="09b922dc-e301-4f7a-90fe-e924f95e94b9" providerId="ADAL" clId="{AAD99E02-1FAF-434B-BD74-F81CF4188FB5}" dt="2021-05-04T19:55:22.959" v="4227" actId="478"/>
          <ac:spMkLst>
            <pc:docMk/>
            <pc:sldMk cId="4061302745" sldId="687"/>
            <ac:spMk id="11" creationId="{0AC1AC26-ADA8-4734-8DA4-CAC79FE939F3}"/>
          </ac:spMkLst>
        </pc:spChg>
        <pc:spChg chg="del">
          <ac:chgData name="Pinto Retamal, Rodrigo Enrique" userId="09b922dc-e301-4f7a-90fe-e924f95e94b9" providerId="ADAL" clId="{AAD99E02-1FAF-434B-BD74-F81CF4188FB5}" dt="2021-05-04T19:55:24.052" v="4228" actId="478"/>
          <ac:spMkLst>
            <pc:docMk/>
            <pc:sldMk cId="4061302745" sldId="687"/>
            <ac:spMk id="13" creationId="{CBB81109-EFF9-491D-A66F-0A79CB665232}"/>
          </ac:spMkLst>
        </pc:spChg>
        <pc:spChg chg="add mod">
          <ac:chgData name="Pinto Retamal, Rodrigo Enrique" userId="09b922dc-e301-4f7a-90fe-e924f95e94b9" providerId="ADAL" clId="{AAD99E02-1FAF-434B-BD74-F81CF4188FB5}" dt="2021-05-04T19:56:16.742" v="4288" actId="1038"/>
          <ac:spMkLst>
            <pc:docMk/>
            <pc:sldMk cId="4061302745" sldId="687"/>
            <ac:spMk id="14" creationId="{F7735391-FE5D-4660-B3E5-8D900FF61CAE}"/>
          </ac:spMkLst>
        </pc:spChg>
        <pc:spChg chg="add mod">
          <ac:chgData name="Pinto Retamal, Rodrigo Enrique" userId="09b922dc-e301-4f7a-90fe-e924f95e94b9" providerId="ADAL" clId="{AAD99E02-1FAF-434B-BD74-F81CF4188FB5}" dt="2021-05-04T19:56:16.742" v="4288" actId="1038"/>
          <ac:spMkLst>
            <pc:docMk/>
            <pc:sldMk cId="4061302745" sldId="687"/>
            <ac:spMk id="15" creationId="{E664ACDD-EF2D-4994-A013-DED3F306C2D9}"/>
          </ac:spMkLst>
        </pc:spChg>
        <pc:spChg chg="add mod">
          <ac:chgData name="Pinto Retamal, Rodrigo Enrique" userId="09b922dc-e301-4f7a-90fe-e924f95e94b9" providerId="ADAL" clId="{AAD99E02-1FAF-434B-BD74-F81CF4188FB5}" dt="2021-05-04T19:56:16.742" v="4288" actId="1038"/>
          <ac:spMkLst>
            <pc:docMk/>
            <pc:sldMk cId="4061302745" sldId="687"/>
            <ac:spMk id="16" creationId="{DBCD6E59-B9BB-4993-9EBC-821C4A4EBE3C}"/>
          </ac:spMkLst>
        </pc:spChg>
        <pc:spChg chg="add mod">
          <ac:chgData name="Pinto Retamal, Rodrigo Enrique" userId="09b922dc-e301-4f7a-90fe-e924f95e94b9" providerId="ADAL" clId="{AAD99E02-1FAF-434B-BD74-F81CF4188FB5}" dt="2021-05-04T19:56:16.742" v="4288" actId="1038"/>
          <ac:spMkLst>
            <pc:docMk/>
            <pc:sldMk cId="4061302745" sldId="687"/>
            <ac:spMk id="17" creationId="{2E211240-4CEB-47A3-A9C4-DE32064D327D}"/>
          </ac:spMkLst>
        </pc:spChg>
        <pc:spChg chg="add mod">
          <ac:chgData name="Pinto Retamal, Rodrigo Enrique" userId="09b922dc-e301-4f7a-90fe-e924f95e94b9" providerId="ADAL" clId="{AAD99E02-1FAF-434B-BD74-F81CF4188FB5}" dt="2021-05-04T19:56:16.742" v="4288" actId="1038"/>
          <ac:spMkLst>
            <pc:docMk/>
            <pc:sldMk cId="4061302745" sldId="687"/>
            <ac:spMk id="20" creationId="{1BC653D7-89F9-4D03-A0C2-6A08C743D6A4}"/>
          </ac:spMkLst>
        </pc:spChg>
        <pc:spChg chg="add mod">
          <ac:chgData name="Pinto Retamal, Rodrigo Enrique" userId="09b922dc-e301-4f7a-90fe-e924f95e94b9" providerId="ADAL" clId="{AAD99E02-1FAF-434B-BD74-F81CF4188FB5}" dt="2021-05-04T19:56:16.742" v="4288" actId="1038"/>
          <ac:spMkLst>
            <pc:docMk/>
            <pc:sldMk cId="4061302745" sldId="687"/>
            <ac:spMk id="21" creationId="{ED2053FE-17C3-43B9-9023-4363255CE9C0}"/>
          </ac:spMkLst>
        </pc:spChg>
        <pc:spChg chg="add mod">
          <ac:chgData name="Pinto Retamal, Rodrigo Enrique" userId="09b922dc-e301-4f7a-90fe-e924f95e94b9" providerId="ADAL" clId="{AAD99E02-1FAF-434B-BD74-F81CF4188FB5}" dt="2021-05-04T19:56:16.742" v="4288" actId="1038"/>
          <ac:spMkLst>
            <pc:docMk/>
            <pc:sldMk cId="4061302745" sldId="687"/>
            <ac:spMk id="22" creationId="{D0937700-1C12-47DA-96D9-A3634A053198}"/>
          </ac:spMkLst>
        </pc:spChg>
        <pc:spChg chg="mod">
          <ac:chgData name="Pinto Retamal, Rodrigo Enrique" userId="09b922dc-e301-4f7a-90fe-e924f95e94b9" providerId="ADAL" clId="{AAD99E02-1FAF-434B-BD74-F81CF4188FB5}" dt="2021-05-04T19:55:12.268" v="4225" actId="20577"/>
          <ac:spMkLst>
            <pc:docMk/>
            <pc:sldMk cId="4061302745" sldId="687"/>
            <ac:spMk id="24" creationId="{42B9B605-B12F-6147-BFF4-BCAF18B25A68}"/>
          </ac:spMkLst>
        </pc:spChg>
        <pc:spChg chg="mod">
          <ac:chgData name="Pinto Retamal, Rodrigo Enrique" userId="09b922dc-e301-4f7a-90fe-e924f95e94b9" providerId="ADAL" clId="{AAD99E02-1FAF-434B-BD74-F81CF4188FB5}" dt="2021-05-04T19:55:34.217" v="4257" actId="20577"/>
          <ac:spMkLst>
            <pc:docMk/>
            <pc:sldMk cId="4061302745" sldId="687"/>
            <ac:spMk id="25" creationId="{895E7C57-E423-7444-A1F9-CACBB7D8C0FB}"/>
          </ac:spMkLst>
        </pc:spChg>
        <pc:picChg chg="del">
          <ac:chgData name="Pinto Retamal, Rodrigo Enrique" userId="09b922dc-e301-4f7a-90fe-e924f95e94b9" providerId="ADAL" clId="{AAD99E02-1FAF-434B-BD74-F81CF4188FB5}" dt="2021-05-04T19:55:18.700" v="4226" actId="478"/>
          <ac:picMkLst>
            <pc:docMk/>
            <pc:sldMk cId="4061302745" sldId="687"/>
            <ac:picMk id="12" creationId="{D0D302AE-5AB3-4CB9-9109-00D28D7970A2}"/>
          </ac:picMkLst>
        </pc:picChg>
        <pc:picChg chg="add mod">
          <ac:chgData name="Pinto Retamal, Rodrigo Enrique" userId="09b922dc-e301-4f7a-90fe-e924f95e94b9" providerId="ADAL" clId="{AAD99E02-1FAF-434B-BD74-F81CF4188FB5}" dt="2021-05-04T19:56:16.742" v="4288" actId="1038"/>
          <ac:picMkLst>
            <pc:docMk/>
            <pc:sldMk cId="4061302745" sldId="687"/>
            <ac:picMk id="18" creationId="{7040BECF-F53A-4125-928F-55E035784D73}"/>
          </ac:picMkLst>
        </pc:picChg>
        <pc:picChg chg="add mod">
          <ac:chgData name="Pinto Retamal, Rodrigo Enrique" userId="09b922dc-e301-4f7a-90fe-e924f95e94b9" providerId="ADAL" clId="{AAD99E02-1FAF-434B-BD74-F81CF4188FB5}" dt="2021-05-04T19:56:16.742" v="4288" actId="1038"/>
          <ac:picMkLst>
            <pc:docMk/>
            <pc:sldMk cId="4061302745" sldId="687"/>
            <ac:picMk id="19" creationId="{74E5E9AA-7B4E-4805-98E3-155375F92A9E}"/>
          </ac:picMkLst>
        </pc:picChg>
        <pc:picChg chg="add mod">
          <ac:chgData name="Pinto Retamal, Rodrigo Enrique" userId="09b922dc-e301-4f7a-90fe-e924f95e94b9" providerId="ADAL" clId="{AAD99E02-1FAF-434B-BD74-F81CF4188FB5}" dt="2021-05-04T19:56:48.708" v="4291" actId="1076"/>
          <ac:picMkLst>
            <pc:docMk/>
            <pc:sldMk cId="4061302745" sldId="687"/>
            <ac:picMk id="23" creationId="{07726352-336B-4948-84F5-E7640189446B}"/>
          </ac:picMkLst>
        </pc:picChg>
        <pc:picChg chg="add mod">
          <ac:chgData name="Pinto Retamal, Rodrigo Enrique" userId="09b922dc-e301-4f7a-90fe-e924f95e94b9" providerId="ADAL" clId="{AAD99E02-1FAF-434B-BD74-F81CF4188FB5}" dt="2021-05-04T19:56:46.390" v="4290" actId="1076"/>
          <ac:picMkLst>
            <pc:docMk/>
            <pc:sldMk cId="4061302745" sldId="687"/>
            <ac:picMk id="26" creationId="{86972DFA-7A51-4B60-AF28-98F274FC3EFD}"/>
          </ac:picMkLst>
        </pc:picChg>
      </pc:sldChg>
      <pc:sldChg chg="addSp delSp add delAnim modAnim">
        <pc:chgData name="Pinto Retamal, Rodrigo Enrique" userId="09b922dc-e301-4f7a-90fe-e924f95e94b9" providerId="ADAL" clId="{AAD99E02-1FAF-434B-BD74-F81CF4188FB5}" dt="2021-05-04T19:58:30.428" v="4299"/>
        <pc:sldMkLst>
          <pc:docMk/>
          <pc:sldMk cId="4124398915" sldId="688"/>
        </pc:sldMkLst>
        <pc:spChg chg="del">
          <ac:chgData name="Pinto Retamal, Rodrigo Enrique" userId="09b922dc-e301-4f7a-90fe-e924f95e94b9" providerId="ADAL" clId="{AAD99E02-1FAF-434B-BD74-F81CF4188FB5}" dt="2021-05-04T19:58:18.037" v="4298" actId="478"/>
          <ac:spMkLst>
            <pc:docMk/>
            <pc:sldMk cId="4124398915" sldId="688"/>
            <ac:spMk id="14" creationId="{F7735391-FE5D-4660-B3E5-8D900FF61CAE}"/>
          </ac:spMkLst>
        </pc:spChg>
        <pc:spChg chg="del">
          <ac:chgData name="Pinto Retamal, Rodrigo Enrique" userId="09b922dc-e301-4f7a-90fe-e924f95e94b9" providerId="ADAL" clId="{AAD99E02-1FAF-434B-BD74-F81CF4188FB5}" dt="2021-05-04T19:58:18.037" v="4298" actId="478"/>
          <ac:spMkLst>
            <pc:docMk/>
            <pc:sldMk cId="4124398915" sldId="688"/>
            <ac:spMk id="15" creationId="{E664ACDD-EF2D-4994-A013-DED3F306C2D9}"/>
          </ac:spMkLst>
        </pc:spChg>
        <pc:spChg chg="del">
          <ac:chgData name="Pinto Retamal, Rodrigo Enrique" userId="09b922dc-e301-4f7a-90fe-e924f95e94b9" providerId="ADAL" clId="{AAD99E02-1FAF-434B-BD74-F81CF4188FB5}" dt="2021-05-04T19:58:18.037" v="4298" actId="478"/>
          <ac:spMkLst>
            <pc:docMk/>
            <pc:sldMk cId="4124398915" sldId="688"/>
            <ac:spMk id="16" creationId="{DBCD6E59-B9BB-4993-9EBC-821C4A4EBE3C}"/>
          </ac:spMkLst>
        </pc:spChg>
        <pc:spChg chg="del">
          <ac:chgData name="Pinto Retamal, Rodrigo Enrique" userId="09b922dc-e301-4f7a-90fe-e924f95e94b9" providerId="ADAL" clId="{AAD99E02-1FAF-434B-BD74-F81CF4188FB5}" dt="2021-05-04T19:58:18.037" v="4298" actId="478"/>
          <ac:spMkLst>
            <pc:docMk/>
            <pc:sldMk cId="4124398915" sldId="688"/>
            <ac:spMk id="17" creationId="{2E211240-4CEB-47A3-A9C4-DE32064D327D}"/>
          </ac:spMkLst>
        </pc:spChg>
        <pc:spChg chg="del">
          <ac:chgData name="Pinto Retamal, Rodrigo Enrique" userId="09b922dc-e301-4f7a-90fe-e924f95e94b9" providerId="ADAL" clId="{AAD99E02-1FAF-434B-BD74-F81CF4188FB5}" dt="2021-05-04T19:58:18.037" v="4298" actId="478"/>
          <ac:spMkLst>
            <pc:docMk/>
            <pc:sldMk cId="4124398915" sldId="688"/>
            <ac:spMk id="20" creationId="{1BC653D7-89F9-4D03-A0C2-6A08C743D6A4}"/>
          </ac:spMkLst>
        </pc:spChg>
        <pc:spChg chg="del">
          <ac:chgData name="Pinto Retamal, Rodrigo Enrique" userId="09b922dc-e301-4f7a-90fe-e924f95e94b9" providerId="ADAL" clId="{AAD99E02-1FAF-434B-BD74-F81CF4188FB5}" dt="2021-05-04T19:58:18.037" v="4298" actId="478"/>
          <ac:spMkLst>
            <pc:docMk/>
            <pc:sldMk cId="4124398915" sldId="688"/>
            <ac:spMk id="21" creationId="{ED2053FE-17C3-43B9-9023-4363255CE9C0}"/>
          </ac:spMkLst>
        </pc:spChg>
        <pc:spChg chg="del">
          <ac:chgData name="Pinto Retamal, Rodrigo Enrique" userId="09b922dc-e301-4f7a-90fe-e924f95e94b9" providerId="ADAL" clId="{AAD99E02-1FAF-434B-BD74-F81CF4188FB5}" dt="2021-05-04T19:58:18.037" v="4298" actId="478"/>
          <ac:spMkLst>
            <pc:docMk/>
            <pc:sldMk cId="4124398915" sldId="688"/>
            <ac:spMk id="22" creationId="{D0937700-1C12-47DA-96D9-A3634A053198}"/>
          </ac:spMkLst>
        </pc:spChg>
        <pc:spChg chg="add">
          <ac:chgData name="Pinto Retamal, Rodrigo Enrique" userId="09b922dc-e301-4f7a-90fe-e924f95e94b9" providerId="ADAL" clId="{AAD99E02-1FAF-434B-BD74-F81CF4188FB5}" dt="2021-05-04T19:58:30.428" v="4299"/>
          <ac:spMkLst>
            <pc:docMk/>
            <pc:sldMk cId="4124398915" sldId="688"/>
            <ac:spMk id="27" creationId="{CABF179A-1773-435C-8F5E-FF1B1B4CE1A2}"/>
          </ac:spMkLst>
        </pc:spChg>
        <pc:picChg chg="del">
          <ac:chgData name="Pinto Retamal, Rodrigo Enrique" userId="09b922dc-e301-4f7a-90fe-e924f95e94b9" providerId="ADAL" clId="{AAD99E02-1FAF-434B-BD74-F81CF4188FB5}" dt="2021-05-04T19:58:18.037" v="4298" actId="478"/>
          <ac:picMkLst>
            <pc:docMk/>
            <pc:sldMk cId="4124398915" sldId="688"/>
            <ac:picMk id="18" creationId="{7040BECF-F53A-4125-928F-55E035784D73}"/>
          </ac:picMkLst>
        </pc:picChg>
        <pc:picChg chg="del">
          <ac:chgData name="Pinto Retamal, Rodrigo Enrique" userId="09b922dc-e301-4f7a-90fe-e924f95e94b9" providerId="ADAL" clId="{AAD99E02-1FAF-434B-BD74-F81CF4188FB5}" dt="2021-05-04T19:58:18.037" v="4298" actId="478"/>
          <ac:picMkLst>
            <pc:docMk/>
            <pc:sldMk cId="4124398915" sldId="688"/>
            <ac:picMk id="19" creationId="{74E5E9AA-7B4E-4805-98E3-155375F92A9E}"/>
          </ac:picMkLst>
        </pc:picChg>
        <pc:picChg chg="del">
          <ac:chgData name="Pinto Retamal, Rodrigo Enrique" userId="09b922dc-e301-4f7a-90fe-e924f95e94b9" providerId="ADAL" clId="{AAD99E02-1FAF-434B-BD74-F81CF4188FB5}" dt="2021-05-04T19:58:15.012" v="4297" actId="478"/>
          <ac:picMkLst>
            <pc:docMk/>
            <pc:sldMk cId="4124398915" sldId="688"/>
            <ac:picMk id="23" creationId="{07726352-336B-4948-84F5-E7640189446B}"/>
          </ac:picMkLst>
        </pc:picChg>
        <pc:picChg chg="del">
          <ac:chgData name="Pinto Retamal, Rodrigo Enrique" userId="09b922dc-e301-4f7a-90fe-e924f95e94b9" providerId="ADAL" clId="{AAD99E02-1FAF-434B-BD74-F81CF4188FB5}" dt="2021-05-04T19:58:14.174" v="4296" actId="478"/>
          <ac:picMkLst>
            <pc:docMk/>
            <pc:sldMk cId="4124398915" sldId="688"/>
            <ac:picMk id="26" creationId="{86972DFA-7A51-4B60-AF28-98F274FC3EFD}"/>
          </ac:picMkLst>
        </pc:picChg>
        <pc:picChg chg="add">
          <ac:chgData name="Pinto Retamal, Rodrigo Enrique" userId="09b922dc-e301-4f7a-90fe-e924f95e94b9" providerId="ADAL" clId="{AAD99E02-1FAF-434B-BD74-F81CF4188FB5}" dt="2021-05-04T19:58:30.428" v="4299"/>
          <ac:picMkLst>
            <pc:docMk/>
            <pc:sldMk cId="4124398915" sldId="688"/>
            <ac:picMk id="28" creationId="{8EAB4E58-486C-43F7-BA38-4CE505FFA3B0}"/>
          </ac:picMkLst>
        </pc:picChg>
        <pc:picChg chg="add">
          <ac:chgData name="Pinto Retamal, Rodrigo Enrique" userId="09b922dc-e301-4f7a-90fe-e924f95e94b9" providerId="ADAL" clId="{AAD99E02-1FAF-434B-BD74-F81CF4188FB5}" dt="2021-05-04T19:58:30.428" v="4299"/>
          <ac:picMkLst>
            <pc:docMk/>
            <pc:sldMk cId="4124398915" sldId="688"/>
            <ac:picMk id="29" creationId="{E3886DD9-B1D5-4B0D-86CE-31F29D06A94F}"/>
          </ac:picMkLst>
        </pc:picChg>
        <pc:picChg chg="add">
          <ac:chgData name="Pinto Retamal, Rodrigo Enrique" userId="09b922dc-e301-4f7a-90fe-e924f95e94b9" providerId="ADAL" clId="{AAD99E02-1FAF-434B-BD74-F81CF4188FB5}" dt="2021-05-04T19:58:30.428" v="4299"/>
          <ac:picMkLst>
            <pc:docMk/>
            <pc:sldMk cId="4124398915" sldId="688"/>
            <ac:picMk id="30" creationId="{63D715E8-8829-4133-B4CA-9523EAC8229E}"/>
          </ac:picMkLst>
        </pc:picChg>
        <pc:picChg chg="add">
          <ac:chgData name="Pinto Retamal, Rodrigo Enrique" userId="09b922dc-e301-4f7a-90fe-e924f95e94b9" providerId="ADAL" clId="{AAD99E02-1FAF-434B-BD74-F81CF4188FB5}" dt="2021-05-04T19:58:30.428" v="4299"/>
          <ac:picMkLst>
            <pc:docMk/>
            <pc:sldMk cId="4124398915" sldId="688"/>
            <ac:picMk id="31" creationId="{54367D87-9CF1-4C7B-83B4-FE65C79F200A}"/>
          </ac:picMkLst>
        </pc:picChg>
        <pc:picChg chg="add">
          <ac:chgData name="Pinto Retamal, Rodrigo Enrique" userId="09b922dc-e301-4f7a-90fe-e924f95e94b9" providerId="ADAL" clId="{AAD99E02-1FAF-434B-BD74-F81CF4188FB5}" dt="2021-05-04T19:58:30.428" v="4299"/>
          <ac:picMkLst>
            <pc:docMk/>
            <pc:sldMk cId="4124398915" sldId="688"/>
            <ac:picMk id="32" creationId="{BF081305-0574-4763-B83F-3CA7774607BB}"/>
          </ac:picMkLst>
        </pc:picChg>
      </pc:sldChg>
      <pc:sldChg chg="addSp delSp modSp add delAnim modAnim">
        <pc:chgData name="Pinto Retamal, Rodrigo Enrique" userId="09b922dc-e301-4f7a-90fe-e924f95e94b9" providerId="ADAL" clId="{AAD99E02-1FAF-434B-BD74-F81CF4188FB5}" dt="2021-05-04T20:07:39.013" v="4608" actId="1076"/>
        <pc:sldMkLst>
          <pc:docMk/>
          <pc:sldMk cId="1308101369" sldId="689"/>
        </pc:sldMkLst>
        <pc:spChg chg="del">
          <ac:chgData name="Pinto Retamal, Rodrigo Enrique" userId="09b922dc-e301-4f7a-90fe-e924f95e94b9" providerId="ADAL" clId="{AAD99E02-1FAF-434B-BD74-F81CF4188FB5}" dt="2021-05-04T20:00:07.100" v="4327" actId="478"/>
          <ac:spMkLst>
            <pc:docMk/>
            <pc:sldMk cId="1308101369" sldId="689"/>
            <ac:spMk id="8" creationId="{8D00FF92-9138-42EF-8A4D-364A7879372A}"/>
          </ac:spMkLst>
        </pc:spChg>
        <pc:spChg chg="del">
          <ac:chgData name="Pinto Retamal, Rodrigo Enrique" userId="09b922dc-e301-4f7a-90fe-e924f95e94b9" providerId="ADAL" clId="{AAD99E02-1FAF-434B-BD74-F81CF4188FB5}" dt="2021-05-04T20:00:07.100" v="4327" actId="478"/>
          <ac:spMkLst>
            <pc:docMk/>
            <pc:sldMk cId="1308101369" sldId="689"/>
            <ac:spMk id="9" creationId="{C724A74C-33E5-4824-AE07-FD2E63857537}"/>
          </ac:spMkLst>
        </pc:spChg>
        <pc:spChg chg="del">
          <ac:chgData name="Pinto Retamal, Rodrigo Enrique" userId="09b922dc-e301-4f7a-90fe-e924f95e94b9" providerId="ADAL" clId="{AAD99E02-1FAF-434B-BD74-F81CF4188FB5}" dt="2021-05-04T20:00:07.100" v="4327" actId="478"/>
          <ac:spMkLst>
            <pc:docMk/>
            <pc:sldMk cId="1308101369" sldId="689"/>
            <ac:spMk id="10" creationId="{08CCF7F0-3D53-4DDB-831A-8B97EEB7A010}"/>
          </ac:spMkLst>
        </pc:spChg>
        <pc:spChg chg="del">
          <ac:chgData name="Pinto Retamal, Rodrigo Enrique" userId="09b922dc-e301-4f7a-90fe-e924f95e94b9" providerId="ADAL" clId="{AAD99E02-1FAF-434B-BD74-F81CF4188FB5}" dt="2021-05-04T20:00:07.100" v="4327" actId="478"/>
          <ac:spMkLst>
            <pc:docMk/>
            <pc:sldMk cId="1308101369" sldId="689"/>
            <ac:spMk id="11" creationId="{0AC1AC26-ADA8-4734-8DA4-CAC79FE939F3}"/>
          </ac:spMkLst>
        </pc:spChg>
        <pc:spChg chg="mod">
          <ac:chgData name="Pinto Retamal, Rodrigo Enrique" userId="09b922dc-e301-4f7a-90fe-e924f95e94b9" providerId="ADAL" clId="{AAD99E02-1FAF-434B-BD74-F81CF4188FB5}" dt="2021-05-04T20:07:39.013" v="4608" actId="1076"/>
          <ac:spMkLst>
            <pc:docMk/>
            <pc:sldMk cId="1308101369" sldId="689"/>
            <ac:spMk id="13" creationId="{CBB81109-EFF9-491D-A66F-0A79CB665232}"/>
          </ac:spMkLst>
        </pc:spChg>
        <pc:spChg chg="mod">
          <ac:chgData name="Pinto Retamal, Rodrigo Enrique" userId="09b922dc-e301-4f7a-90fe-e924f95e94b9" providerId="ADAL" clId="{AAD99E02-1FAF-434B-BD74-F81CF4188FB5}" dt="2021-05-04T19:59:54.765" v="4325" actId="20577"/>
          <ac:spMkLst>
            <pc:docMk/>
            <pc:sldMk cId="1308101369" sldId="689"/>
            <ac:spMk id="25" creationId="{895E7C57-E423-7444-A1F9-CACBB7D8C0FB}"/>
          </ac:spMkLst>
        </pc:spChg>
        <pc:graphicFrameChg chg="add mod modGraphic">
          <ac:chgData name="Pinto Retamal, Rodrigo Enrique" userId="09b922dc-e301-4f7a-90fe-e924f95e94b9" providerId="ADAL" clId="{AAD99E02-1FAF-434B-BD74-F81CF4188FB5}" dt="2021-05-04T20:07:24.709" v="4607" actId="1076"/>
          <ac:graphicFrameMkLst>
            <pc:docMk/>
            <pc:sldMk cId="1308101369" sldId="689"/>
            <ac:graphicFrameMk id="14" creationId="{933B4E24-7D3E-4228-8576-E02894A53E86}"/>
          </ac:graphicFrameMkLst>
        </pc:graphicFrameChg>
        <pc:picChg chg="del">
          <ac:chgData name="Pinto Retamal, Rodrigo Enrique" userId="09b922dc-e301-4f7a-90fe-e924f95e94b9" providerId="ADAL" clId="{AAD99E02-1FAF-434B-BD74-F81CF4188FB5}" dt="2021-05-04T20:00:04.916" v="4326" actId="478"/>
          <ac:picMkLst>
            <pc:docMk/>
            <pc:sldMk cId="1308101369" sldId="689"/>
            <ac:picMk id="12" creationId="{D0D302AE-5AB3-4CB9-9109-00D28D7970A2}"/>
          </ac:picMkLst>
        </pc:picChg>
      </pc:sldChg>
      <pc:sldMasterChg chg="delSldLayout">
        <pc:chgData name="Pinto Retamal, Rodrigo Enrique" userId="09b922dc-e301-4f7a-90fe-e924f95e94b9" providerId="ADAL" clId="{AAD99E02-1FAF-434B-BD74-F81CF4188FB5}" dt="2021-05-04T19:59:25.291" v="4302" actId="2696"/>
        <pc:sldMasterMkLst>
          <pc:docMk/>
          <pc:sldMasterMk cId="0" sldId="2147483648"/>
        </pc:sldMasterMkLst>
        <pc:sldLayoutChg chg="del">
          <pc:chgData name="Pinto Retamal, Rodrigo Enrique" userId="09b922dc-e301-4f7a-90fe-e924f95e94b9" providerId="ADAL" clId="{AAD99E02-1FAF-434B-BD74-F81CF4188FB5}" dt="2021-05-03T19:56:55.935" v="1113" actId="2696"/>
          <pc:sldLayoutMkLst>
            <pc:docMk/>
            <pc:sldMasterMk cId="0" sldId="2147483648"/>
            <pc:sldLayoutMk cId="1677202593" sldId="2147483714"/>
          </pc:sldLayoutMkLst>
        </pc:sldLayoutChg>
        <pc:sldLayoutChg chg="del">
          <pc:chgData name="Pinto Retamal, Rodrigo Enrique" userId="09b922dc-e301-4f7a-90fe-e924f95e94b9" providerId="ADAL" clId="{AAD99E02-1FAF-434B-BD74-F81CF4188FB5}" dt="2021-05-04T19:59:25.291" v="4302" actId="2696"/>
          <pc:sldLayoutMkLst>
            <pc:docMk/>
            <pc:sldMasterMk cId="0" sldId="2147483648"/>
            <pc:sldLayoutMk cId="1788473037" sldId="2147483714"/>
          </pc:sldLayoutMkLst>
        </pc:sldLayoutChg>
        <pc:sldLayoutChg chg="del">
          <pc:chgData name="Pinto Retamal, Rodrigo Enrique" userId="09b922dc-e301-4f7a-90fe-e924f95e94b9" providerId="ADAL" clId="{AAD99E02-1FAF-434B-BD74-F81CF4188FB5}" dt="2021-05-04T19:27:36.530" v="3467" actId="2696"/>
          <pc:sldLayoutMkLst>
            <pc:docMk/>
            <pc:sldMasterMk cId="0" sldId="2147483648"/>
            <pc:sldLayoutMk cId="2579784718" sldId="2147483714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CL"/>
              <a:t>Denuncias casos ME por sector económico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s-CL"/>
        </a:p>
      </c:txPr>
    </c:title>
    <c:autoTitleDeleted val="0"/>
    <c:plotArea>
      <c:layout>
        <c:manualLayout>
          <c:layoutTarget val="inner"/>
          <c:xMode val="edge"/>
          <c:yMode val="edge"/>
          <c:x val="0.2647837843637651"/>
          <c:y val="0.14281239465698306"/>
          <c:w val="0.74630167930835356"/>
          <c:h val="0.8134153015793826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Denuncias por sector'!$C$3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accent1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s-CL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Denuncias por sector'!$B$4:$B$17</c:f>
              <c:strCache>
                <c:ptCount val="14"/>
                <c:pt idx="0">
                  <c:v>ACUÍCOLA</c:v>
                </c:pt>
                <c:pt idx="1">
                  <c:v>AGRÍCOLA</c:v>
                </c:pt>
                <c:pt idx="2">
                  <c:v>COMERCIO Y RETAIL</c:v>
                </c:pt>
                <c:pt idx="3">
                  <c:v>CONSTRUCCIÓN</c:v>
                </c:pt>
                <c:pt idx="4">
                  <c:v>EDUCACIÓN</c:v>
                </c:pt>
                <c:pt idx="5">
                  <c:v>ENERGÍA Y TELECOMUNI</c:v>
                </c:pt>
                <c:pt idx="6">
                  <c:v>FORESTAL MADERERO</c:v>
                </c:pt>
                <c:pt idx="7">
                  <c:v>GUBERNAMENTALES Y MU</c:v>
                </c:pt>
                <c:pt idx="8">
                  <c:v>INDUSTRIAL</c:v>
                </c:pt>
                <c:pt idx="9">
                  <c:v>MINERÍA</c:v>
                </c:pt>
                <c:pt idx="10">
                  <c:v>PESCA</c:v>
                </c:pt>
                <c:pt idx="11">
                  <c:v>SERVICIOS DE SALUD</c:v>
                </c:pt>
                <c:pt idx="12">
                  <c:v>SERVICIOS FINANCIERO</c:v>
                </c:pt>
                <c:pt idx="13">
                  <c:v>TRANSPORTE</c:v>
                </c:pt>
              </c:strCache>
            </c:strRef>
          </c:cat>
          <c:val>
            <c:numRef>
              <c:f>'Denuncias por sector'!$C$4:$C$17</c:f>
              <c:numCache>
                <c:formatCode>General</c:formatCode>
                <c:ptCount val="14"/>
                <c:pt idx="0">
                  <c:v>210</c:v>
                </c:pt>
                <c:pt idx="1">
                  <c:v>277</c:v>
                </c:pt>
                <c:pt idx="2">
                  <c:v>2185</c:v>
                </c:pt>
                <c:pt idx="3">
                  <c:v>302</c:v>
                </c:pt>
                <c:pt idx="4">
                  <c:v>797</c:v>
                </c:pt>
                <c:pt idx="5">
                  <c:v>172</c:v>
                </c:pt>
                <c:pt idx="6">
                  <c:v>322</c:v>
                </c:pt>
                <c:pt idx="7">
                  <c:v>958</c:v>
                </c:pt>
                <c:pt idx="8">
                  <c:v>1639</c:v>
                </c:pt>
                <c:pt idx="9">
                  <c:v>59</c:v>
                </c:pt>
                <c:pt idx="10">
                  <c:v>42</c:v>
                </c:pt>
                <c:pt idx="11">
                  <c:v>380</c:v>
                </c:pt>
                <c:pt idx="12">
                  <c:v>393</c:v>
                </c:pt>
                <c:pt idx="13">
                  <c:v>2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5-482E-BB46-F57CABCD1AA0}"/>
            </c:ext>
          </c:extLst>
        </c:ser>
        <c:ser>
          <c:idx val="1"/>
          <c:order val="1"/>
          <c:tx>
            <c:strRef>
              <c:f>'Denuncias por sector'!$D$3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2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s-CL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Denuncias por sector'!$B$4:$B$17</c:f>
              <c:strCache>
                <c:ptCount val="14"/>
                <c:pt idx="0">
                  <c:v>ACUÍCOLA</c:v>
                </c:pt>
                <c:pt idx="1">
                  <c:v>AGRÍCOLA</c:v>
                </c:pt>
                <c:pt idx="2">
                  <c:v>COMERCIO Y RETAIL</c:v>
                </c:pt>
                <c:pt idx="3">
                  <c:v>CONSTRUCCIÓN</c:v>
                </c:pt>
                <c:pt idx="4">
                  <c:v>EDUCACIÓN</c:v>
                </c:pt>
                <c:pt idx="5">
                  <c:v>ENERGÍA Y TELECOMUNI</c:v>
                </c:pt>
                <c:pt idx="6">
                  <c:v>FORESTAL MADERERO</c:v>
                </c:pt>
                <c:pt idx="7">
                  <c:v>GUBERNAMENTALES Y MU</c:v>
                </c:pt>
                <c:pt idx="8">
                  <c:v>INDUSTRIAL</c:v>
                </c:pt>
                <c:pt idx="9">
                  <c:v>MINERÍA</c:v>
                </c:pt>
                <c:pt idx="10">
                  <c:v>PESCA</c:v>
                </c:pt>
                <c:pt idx="11">
                  <c:v>SERVICIOS DE SALUD</c:v>
                </c:pt>
                <c:pt idx="12">
                  <c:v>SERVICIOS FINANCIERO</c:v>
                </c:pt>
                <c:pt idx="13">
                  <c:v>TRANSPORTE</c:v>
                </c:pt>
              </c:strCache>
            </c:strRef>
          </c:cat>
          <c:val>
            <c:numRef>
              <c:f>'Denuncias por sector'!$D$4:$D$17</c:f>
              <c:numCache>
                <c:formatCode>General</c:formatCode>
                <c:ptCount val="14"/>
                <c:pt idx="0">
                  <c:v>277</c:v>
                </c:pt>
                <c:pt idx="1">
                  <c:v>297</c:v>
                </c:pt>
                <c:pt idx="2">
                  <c:v>2216</c:v>
                </c:pt>
                <c:pt idx="3">
                  <c:v>316</c:v>
                </c:pt>
                <c:pt idx="4">
                  <c:v>787</c:v>
                </c:pt>
                <c:pt idx="5">
                  <c:v>210</c:v>
                </c:pt>
                <c:pt idx="6">
                  <c:v>361</c:v>
                </c:pt>
                <c:pt idx="7">
                  <c:v>954</c:v>
                </c:pt>
                <c:pt idx="8">
                  <c:v>1587</c:v>
                </c:pt>
                <c:pt idx="9">
                  <c:v>72</c:v>
                </c:pt>
                <c:pt idx="10">
                  <c:v>62</c:v>
                </c:pt>
                <c:pt idx="11">
                  <c:v>484</c:v>
                </c:pt>
                <c:pt idx="12">
                  <c:v>423</c:v>
                </c:pt>
                <c:pt idx="13">
                  <c:v>3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5-482E-BB46-F57CABCD1AA0}"/>
            </c:ext>
          </c:extLst>
        </c:ser>
        <c:ser>
          <c:idx val="2"/>
          <c:order val="2"/>
          <c:tx>
            <c:strRef>
              <c:f>'Denuncias por sector'!$E$3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3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s-CL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Denuncias por sector'!$B$4:$B$17</c:f>
              <c:strCache>
                <c:ptCount val="14"/>
                <c:pt idx="0">
                  <c:v>ACUÍCOLA</c:v>
                </c:pt>
                <c:pt idx="1">
                  <c:v>AGRÍCOLA</c:v>
                </c:pt>
                <c:pt idx="2">
                  <c:v>COMERCIO Y RETAIL</c:v>
                </c:pt>
                <c:pt idx="3">
                  <c:v>CONSTRUCCIÓN</c:v>
                </c:pt>
                <c:pt idx="4">
                  <c:v>EDUCACIÓN</c:v>
                </c:pt>
                <c:pt idx="5">
                  <c:v>ENERGÍA Y TELECOMUNI</c:v>
                </c:pt>
                <c:pt idx="6">
                  <c:v>FORESTAL MADERERO</c:v>
                </c:pt>
                <c:pt idx="7">
                  <c:v>GUBERNAMENTALES Y MU</c:v>
                </c:pt>
                <c:pt idx="8">
                  <c:v>INDUSTRIAL</c:v>
                </c:pt>
                <c:pt idx="9">
                  <c:v>MINERÍA</c:v>
                </c:pt>
                <c:pt idx="10">
                  <c:v>PESCA</c:v>
                </c:pt>
                <c:pt idx="11">
                  <c:v>SERVICIOS DE SALUD</c:v>
                </c:pt>
                <c:pt idx="12">
                  <c:v>SERVICIOS FINANCIERO</c:v>
                </c:pt>
                <c:pt idx="13">
                  <c:v>TRANSPORTE</c:v>
                </c:pt>
              </c:strCache>
            </c:strRef>
          </c:cat>
          <c:val>
            <c:numRef>
              <c:f>'Denuncias por sector'!$E$4:$E$17</c:f>
              <c:numCache>
                <c:formatCode>General</c:formatCode>
                <c:ptCount val="14"/>
                <c:pt idx="0">
                  <c:v>260</c:v>
                </c:pt>
                <c:pt idx="1">
                  <c:v>249</c:v>
                </c:pt>
                <c:pt idx="2">
                  <c:v>1511</c:v>
                </c:pt>
                <c:pt idx="3">
                  <c:v>259</c:v>
                </c:pt>
                <c:pt idx="4">
                  <c:v>568</c:v>
                </c:pt>
                <c:pt idx="5">
                  <c:v>140</c:v>
                </c:pt>
                <c:pt idx="6">
                  <c:v>251</c:v>
                </c:pt>
                <c:pt idx="7">
                  <c:v>671</c:v>
                </c:pt>
                <c:pt idx="8">
                  <c:v>1180</c:v>
                </c:pt>
                <c:pt idx="9">
                  <c:v>41</c:v>
                </c:pt>
                <c:pt idx="10">
                  <c:v>28</c:v>
                </c:pt>
                <c:pt idx="11">
                  <c:v>443</c:v>
                </c:pt>
                <c:pt idx="12">
                  <c:v>303</c:v>
                </c:pt>
                <c:pt idx="13">
                  <c:v>2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0B5-482E-BB46-F57CABCD1AA0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461999359"/>
        <c:axId val="391427695"/>
      </c:barChart>
      <c:catAx>
        <c:axId val="46199935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L"/>
          </a:p>
        </c:txPr>
        <c:crossAx val="391427695"/>
        <c:crosses val="autoZero"/>
        <c:auto val="1"/>
        <c:lblAlgn val="ctr"/>
        <c:lblOffset val="100"/>
        <c:noMultiLvlLbl val="0"/>
      </c:catAx>
      <c:valAx>
        <c:axId val="391427695"/>
        <c:scaling>
          <c:orientation val="minMax"/>
        </c:scaling>
        <c:delete val="0"/>
        <c:axPos val="b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L"/>
          </a:p>
        </c:txPr>
        <c:crossAx val="4619993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s-CL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es-CL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9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FA66CA9-2860-48E2-801C-BFC136268589}" type="doc">
      <dgm:prSet loTypeId="urn:microsoft.com/office/officeart/2005/8/layout/process2" loCatId="process" qsTypeId="urn:microsoft.com/office/officeart/2005/8/quickstyle/simple1" qsCatId="simple" csTypeId="urn:microsoft.com/office/officeart/2005/8/colors/accent1_2" csCatId="accent1" phldr="1"/>
      <dgm:spPr/>
    </dgm:pt>
    <dgm:pt modelId="{DAFCACD7-0BC9-4B13-BF1E-745242F40B69}">
      <dgm:prSet phldrT="[Texto]"/>
      <dgm:spPr/>
      <dgm:t>
        <a:bodyPr/>
        <a:lstStyle/>
        <a:p>
          <a:r>
            <a:rPr lang="es-CL" dirty="0"/>
            <a:t>Fatiga</a:t>
          </a:r>
        </a:p>
      </dgm:t>
    </dgm:pt>
    <dgm:pt modelId="{4E0DAA28-9977-4746-B2CB-2E5F7C24913F}" type="parTrans" cxnId="{8258AB75-0FC6-4EAD-A381-BBE16AEAFA04}">
      <dgm:prSet/>
      <dgm:spPr/>
      <dgm:t>
        <a:bodyPr/>
        <a:lstStyle/>
        <a:p>
          <a:endParaRPr lang="es-CL"/>
        </a:p>
      </dgm:t>
    </dgm:pt>
    <dgm:pt modelId="{974863F1-C417-4A5B-8ED0-CCDDE0044203}" type="sibTrans" cxnId="{8258AB75-0FC6-4EAD-A381-BBE16AEAFA04}">
      <dgm:prSet/>
      <dgm:spPr/>
      <dgm:t>
        <a:bodyPr/>
        <a:lstStyle/>
        <a:p>
          <a:endParaRPr lang="es-CL"/>
        </a:p>
      </dgm:t>
    </dgm:pt>
    <dgm:pt modelId="{DD3C9269-9C91-46C7-8F2D-7B5E3434F356}">
      <dgm:prSet phldrT="[Texto]"/>
      <dgm:spPr/>
      <dgm:t>
        <a:bodyPr/>
        <a:lstStyle/>
        <a:p>
          <a:r>
            <a:rPr lang="es-CL" dirty="0"/>
            <a:t>Dolor </a:t>
          </a:r>
        </a:p>
      </dgm:t>
    </dgm:pt>
    <dgm:pt modelId="{B87B8AD9-F5E9-44D3-823C-E74D388790D5}" type="parTrans" cxnId="{B88E49F9-B79A-4188-9C57-CF669E6A8AA7}">
      <dgm:prSet/>
      <dgm:spPr/>
      <dgm:t>
        <a:bodyPr/>
        <a:lstStyle/>
        <a:p>
          <a:endParaRPr lang="es-CL"/>
        </a:p>
      </dgm:t>
    </dgm:pt>
    <dgm:pt modelId="{B78285F7-626C-4BF0-B5A6-EDDCF4B1E7CA}" type="sibTrans" cxnId="{B88E49F9-B79A-4188-9C57-CF669E6A8AA7}">
      <dgm:prSet/>
      <dgm:spPr/>
      <dgm:t>
        <a:bodyPr/>
        <a:lstStyle/>
        <a:p>
          <a:endParaRPr lang="es-CL"/>
        </a:p>
      </dgm:t>
    </dgm:pt>
    <dgm:pt modelId="{EAED61AE-F88C-45E6-A994-1D9B9D408034}">
      <dgm:prSet phldrT="[Texto]"/>
      <dgm:spPr/>
      <dgm:t>
        <a:bodyPr/>
        <a:lstStyle/>
        <a:p>
          <a:r>
            <a:rPr lang="es-CL" dirty="0"/>
            <a:t>TME</a:t>
          </a:r>
        </a:p>
      </dgm:t>
    </dgm:pt>
    <dgm:pt modelId="{7FF7BD53-7D22-4F3D-BC06-85A3120002C2}" type="parTrans" cxnId="{914B334E-41BB-4021-BB09-05EB787FDEA9}">
      <dgm:prSet/>
      <dgm:spPr/>
      <dgm:t>
        <a:bodyPr/>
        <a:lstStyle/>
        <a:p>
          <a:endParaRPr lang="es-CL"/>
        </a:p>
      </dgm:t>
    </dgm:pt>
    <dgm:pt modelId="{5F7B46C5-F04F-4EE5-98B8-E8D6A123074F}" type="sibTrans" cxnId="{914B334E-41BB-4021-BB09-05EB787FDEA9}">
      <dgm:prSet/>
      <dgm:spPr/>
      <dgm:t>
        <a:bodyPr/>
        <a:lstStyle/>
        <a:p>
          <a:endParaRPr lang="es-CL"/>
        </a:p>
      </dgm:t>
    </dgm:pt>
    <dgm:pt modelId="{D2252FA1-63E6-4D13-A86C-8005123CF7DB}" type="pres">
      <dgm:prSet presAssocID="{0FA66CA9-2860-48E2-801C-BFC136268589}" presName="linearFlow" presStyleCnt="0">
        <dgm:presLayoutVars>
          <dgm:resizeHandles val="exact"/>
        </dgm:presLayoutVars>
      </dgm:prSet>
      <dgm:spPr/>
    </dgm:pt>
    <dgm:pt modelId="{CCBEDD34-2172-4322-BE51-33C476A60472}" type="pres">
      <dgm:prSet presAssocID="{DAFCACD7-0BC9-4B13-BF1E-745242F40B69}" presName="node" presStyleLbl="node1" presStyleIdx="0" presStyleCnt="3">
        <dgm:presLayoutVars>
          <dgm:bulletEnabled val="1"/>
        </dgm:presLayoutVars>
      </dgm:prSet>
      <dgm:spPr/>
    </dgm:pt>
    <dgm:pt modelId="{77C24ED3-228E-4B03-928D-E881C575066B}" type="pres">
      <dgm:prSet presAssocID="{974863F1-C417-4A5B-8ED0-CCDDE0044203}" presName="sibTrans" presStyleLbl="sibTrans2D1" presStyleIdx="0" presStyleCnt="2"/>
      <dgm:spPr/>
    </dgm:pt>
    <dgm:pt modelId="{1CCB5171-E643-472D-A424-6BA0D2104E5E}" type="pres">
      <dgm:prSet presAssocID="{974863F1-C417-4A5B-8ED0-CCDDE0044203}" presName="connectorText" presStyleLbl="sibTrans2D1" presStyleIdx="0" presStyleCnt="2"/>
      <dgm:spPr/>
    </dgm:pt>
    <dgm:pt modelId="{69DA27F8-E53F-4CB3-8244-BA2C3C858856}" type="pres">
      <dgm:prSet presAssocID="{DD3C9269-9C91-46C7-8F2D-7B5E3434F356}" presName="node" presStyleLbl="node1" presStyleIdx="1" presStyleCnt="3">
        <dgm:presLayoutVars>
          <dgm:bulletEnabled val="1"/>
        </dgm:presLayoutVars>
      </dgm:prSet>
      <dgm:spPr/>
    </dgm:pt>
    <dgm:pt modelId="{0D0647BF-A519-4F3F-809F-B43DB0E87AC4}" type="pres">
      <dgm:prSet presAssocID="{B78285F7-626C-4BF0-B5A6-EDDCF4B1E7CA}" presName="sibTrans" presStyleLbl="sibTrans2D1" presStyleIdx="1" presStyleCnt="2"/>
      <dgm:spPr/>
    </dgm:pt>
    <dgm:pt modelId="{1A6BA80B-FB69-49CB-B2AA-1D35628FB268}" type="pres">
      <dgm:prSet presAssocID="{B78285F7-626C-4BF0-B5A6-EDDCF4B1E7CA}" presName="connectorText" presStyleLbl="sibTrans2D1" presStyleIdx="1" presStyleCnt="2"/>
      <dgm:spPr/>
    </dgm:pt>
    <dgm:pt modelId="{81D60EA5-554D-4BC0-BD7A-EEF3A02D7AA5}" type="pres">
      <dgm:prSet presAssocID="{EAED61AE-F88C-45E6-A994-1D9B9D408034}" presName="node" presStyleLbl="node1" presStyleIdx="2" presStyleCnt="3">
        <dgm:presLayoutVars>
          <dgm:bulletEnabled val="1"/>
        </dgm:presLayoutVars>
      </dgm:prSet>
      <dgm:spPr/>
    </dgm:pt>
  </dgm:ptLst>
  <dgm:cxnLst>
    <dgm:cxn modelId="{6B77CD0F-F956-494F-9CD9-65DC15D2F6AF}" type="presOf" srcId="{B78285F7-626C-4BF0-B5A6-EDDCF4B1E7CA}" destId="{0D0647BF-A519-4F3F-809F-B43DB0E87AC4}" srcOrd="0" destOrd="0" presId="urn:microsoft.com/office/officeart/2005/8/layout/process2"/>
    <dgm:cxn modelId="{979F0B5D-B3C3-4ECB-9176-F48DD37FDB11}" type="presOf" srcId="{DD3C9269-9C91-46C7-8F2D-7B5E3434F356}" destId="{69DA27F8-E53F-4CB3-8244-BA2C3C858856}" srcOrd="0" destOrd="0" presId="urn:microsoft.com/office/officeart/2005/8/layout/process2"/>
    <dgm:cxn modelId="{FF69436C-EE17-4118-902B-04F048D3B11B}" type="presOf" srcId="{EAED61AE-F88C-45E6-A994-1D9B9D408034}" destId="{81D60EA5-554D-4BC0-BD7A-EEF3A02D7AA5}" srcOrd="0" destOrd="0" presId="urn:microsoft.com/office/officeart/2005/8/layout/process2"/>
    <dgm:cxn modelId="{914B334E-41BB-4021-BB09-05EB787FDEA9}" srcId="{0FA66CA9-2860-48E2-801C-BFC136268589}" destId="{EAED61AE-F88C-45E6-A994-1D9B9D408034}" srcOrd="2" destOrd="0" parTransId="{7FF7BD53-7D22-4F3D-BC06-85A3120002C2}" sibTransId="{5F7B46C5-F04F-4EE5-98B8-E8D6A123074F}"/>
    <dgm:cxn modelId="{22400B72-EE2D-4A1F-8BD3-BB943DF61CC1}" type="presOf" srcId="{0FA66CA9-2860-48E2-801C-BFC136268589}" destId="{D2252FA1-63E6-4D13-A86C-8005123CF7DB}" srcOrd="0" destOrd="0" presId="urn:microsoft.com/office/officeart/2005/8/layout/process2"/>
    <dgm:cxn modelId="{8258AB75-0FC6-4EAD-A381-BBE16AEAFA04}" srcId="{0FA66CA9-2860-48E2-801C-BFC136268589}" destId="{DAFCACD7-0BC9-4B13-BF1E-745242F40B69}" srcOrd="0" destOrd="0" parTransId="{4E0DAA28-9977-4746-B2CB-2E5F7C24913F}" sibTransId="{974863F1-C417-4A5B-8ED0-CCDDE0044203}"/>
    <dgm:cxn modelId="{E24B4E80-9B3A-49ED-B5A7-145EC9BB216B}" type="presOf" srcId="{974863F1-C417-4A5B-8ED0-CCDDE0044203}" destId="{1CCB5171-E643-472D-A424-6BA0D2104E5E}" srcOrd="1" destOrd="0" presId="urn:microsoft.com/office/officeart/2005/8/layout/process2"/>
    <dgm:cxn modelId="{77D58A85-A0B6-4188-A6F1-87818547CA96}" type="presOf" srcId="{B78285F7-626C-4BF0-B5A6-EDDCF4B1E7CA}" destId="{1A6BA80B-FB69-49CB-B2AA-1D35628FB268}" srcOrd="1" destOrd="0" presId="urn:microsoft.com/office/officeart/2005/8/layout/process2"/>
    <dgm:cxn modelId="{CC41E295-EC21-45B4-BB70-FEBE2355EEAC}" type="presOf" srcId="{DAFCACD7-0BC9-4B13-BF1E-745242F40B69}" destId="{CCBEDD34-2172-4322-BE51-33C476A60472}" srcOrd="0" destOrd="0" presId="urn:microsoft.com/office/officeart/2005/8/layout/process2"/>
    <dgm:cxn modelId="{B88E49F9-B79A-4188-9C57-CF669E6A8AA7}" srcId="{0FA66CA9-2860-48E2-801C-BFC136268589}" destId="{DD3C9269-9C91-46C7-8F2D-7B5E3434F356}" srcOrd="1" destOrd="0" parTransId="{B87B8AD9-F5E9-44D3-823C-E74D388790D5}" sibTransId="{B78285F7-626C-4BF0-B5A6-EDDCF4B1E7CA}"/>
    <dgm:cxn modelId="{A2677FFC-3EDA-464A-8E46-06319233566A}" type="presOf" srcId="{974863F1-C417-4A5B-8ED0-CCDDE0044203}" destId="{77C24ED3-228E-4B03-928D-E881C575066B}" srcOrd="0" destOrd="0" presId="urn:microsoft.com/office/officeart/2005/8/layout/process2"/>
    <dgm:cxn modelId="{9ADDE0EE-2C2B-4ADE-9FB0-510163F65832}" type="presParOf" srcId="{D2252FA1-63E6-4D13-A86C-8005123CF7DB}" destId="{CCBEDD34-2172-4322-BE51-33C476A60472}" srcOrd="0" destOrd="0" presId="urn:microsoft.com/office/officeart/2005/8/layout/process2"/>
    <dgm:cxn modelId="{28A1F4C9-182B-43EC-B91A-9B61BBD6AB21}" type="presParOf" srcId="{D2252FA1-63E6-4D13-A86C-8005123CF7DB}" destId="{77C24ED3-228E-4B03-928D-E881C575066B}" srcOrd="1" destOrd="0" presId="urn:microsoft.com/office/officeart/2005/8/layout/process2"/>
    <dgm:cxn modelId="{C2BBE250-E2B0-4806-B1A0-883FAE624A25}" type="presParOf" srcId="{77C24ED3-228E-4B03-928D-E881C575066B}" destId="{1CCB5171-E643-472D-A424-6BA0D2104E5E}" srcOrd="0" destOrd="0" presId="urn:microsoft.com/office/officeart/2005/8/layout/process2"/>
    <dgm:cxn modelId="{A7C024FD-0066-4B6B-95F1-FA9A0A2A12AE}" type="presParOf" srcId="{D2252FA1-63E6-4D13-A86C-8005123CF7DB}" destId="{69DA27F8-E53F-4CB3-8244-BA2C3C858856}" srcOrd="2" destOrd="0" presId="urn:microsoft.com/office/officeart/2005/8/layout/process2"/>
    <dgm:cxn modelId="{92FAFF36-06B6-4B30-9EB5-ADF22F8ACDC2}" type="presParOf" srcId="{D2252FA1-63E6-4D13-A86C-8005123CF7DB}" destId="{0D0647BF-A519-4F3F-809F-B43DB0E87AC4}" srcOrd="3" destOrd="0" presId="urn:microsoft.com/office/officeart/2005/8/layout/process2"/>
    <dgm:cxn modelId="{4A8D7328-ADF6-4F1D-BD14-A24F18A429CE}" type="presParOf" srcId="{0D0647BF-A519-4F3F-809F-B43DB0E87AC4}" destId="{1A6BA80B-FB69-49CB-B2AA-1D35628FB268}" srcOrd="0" destOrd="0" presId="urn:microsoft.com/office/officeart/2005/8/layout/process2"/>
    <dgm:cxn modelId="{B2812C74-5DD9-4861-A8C6-16609E5D5568}" type="presParOf" srcId="{D2252FA1-63E6-4D13-A86C-8005123CF7DB}" destId="{81D60EA5-554D-4BC0-BD7A-EEF3A02D7AA5}" srcOrd="4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CBEDD34-2172-4322-BE51-33C476A60472}">
      <dsp:nvSpPr>
        <dsp:cNvPr id="0" name=""/>
        <dsp:cNvSpPr/>
      </dsp:nvSpPr>
      <dsp:spPr>
        <a:xfrm>
          <a:off x="949197" y="0"/>
          <a:ext cx="1134125" cy="63006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2500" kern="1200" dirty="0"/>
            <a:t>Fatiga</a:t>
          </a:r>
        </a:p>
      </dsp:txBody>
      <dsp:txXfrm>
        <a:off x="967651" y="18454"/>
        <a:ext cx="1097217" cy="593161"/>
      </dsp:txXfrm>
    </dsp:sp>
    <dsp:sp modelId="{77C24ED3-228E-4B03-928D-E881C575066B}">
      <dsp:nvSpPr>
        <dsp:cNvPr id="0" name=""/>
        <dsp:cNvSpPr/>
      </dsp:nvSpPr>
      <dsp:spPr>
        <a:xfrm rot="5400000">
          <a:off x="1398121" y="645821"/>
          <a:ext cx="236276" cy="28353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CL" sz="1200" kern="1200"/>
        </a:p>
      </dsp:txBody>
      <dsp:txXfrm rot="-5400000">
        <a:off x="1431200" y="669449"/>
        <a:ext cx="170119" cy="165393"/>
      </dsp:txXfrm>
    </dsp:sp>
    <dsp:sp modelId="{69DA27F8-E53F-4CB3-8244-BA2C3C858856}">
      <dsp:nvSpPr>
        <dsp:cNvPr id="0" name=""/>
        <dsp:cNvSpPr/>
      </dsp:nvSpPr>
      <dsp:spPr>
        <a:xfrm>
          <a:off x="949197" y="945105"/>
          <a:ext cx="1134125" cy="63006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2500" kern="1200" dirty="0"/>
            <a:t>Dolor </a:t>
          </a:r>
        </a:p>
      </dsp:txBody>
      <dsp:txXfrm>
        <a:off x="967651" y="963559"/>
        <a:ext cx="1097217" cy="593161"/>
      </dsp:txXfrm>
    </dsp:sp>
    <dsp:sp modelId="{0D0647BF-A519-4F3F-809F-B43DB0E87AC4}">
      <dsp:nvSpPr>
        <dsp:cNvPr id="0" name=""/>
        <dsp:cNvSpPr/>
      </dsp:nvSpPr>
      <dsp:spPr>
        <a:xfrm rot="5400000">
          <a:off x="1398121" y="1590926"/>
          <a:ext cx="236276" cy="28353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CL" sz="1200" kern="1200"/>
        </a:p>
      </dsp:txBody>
      <dsp:txXfrm rot="-5400000">
        <a:off x="1431200" y="1614554"/>
        <a:ext cx="170119" cy="165393"/>
      </dsp:txXfrm>
    </dsp:sp>
    <dsp:sp modelId="{81D60EA5-554D-4BC0-BD7A-EEF3A02D7AA5}">
      <dsp:nvSpPr>
        <dsp:cNvPr id="0" name=""/>
        <dsp:cNvSpPr/>
      </dsp:nvSpPr>
      <dsp:spPr>
        <a:xfrm>
          <a:off x="949197" y="1890209"/>
          <a:ext cx="1134125" cy="63006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2500" kern="1200" dirty="0"/>
            <a:t>TME</a:t>
          </a:r>
        </a:p>
      </dsp:txBody>
      <dsp:txXfrm>
        <a:off x="967651" y="1908663"/>
        <a:ext cx="1097217" cy="59316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B9188E16-A5FE-A144-97F6-5D99CCB6C3C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795B1F7A-4E48-CD4F-94BA-B2FCC45F7BE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9CEFCD-101D-B344-A216-EEBAD2A9FEC9}" type="datetimeFigureOut">
              <a:rPr lang="es-CL" smtClean="0"/>
              <a:t>23-05-2022</a:t>
            </a:fld>
            <a:endParaRPr lang="es-CL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47EA905C-21BA-E14A-AA0A-091761D2F16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E4F9FCA-A903-9A42-9C83-FDEC2A53390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80C8CA-6B66-244E-B272-B10E2DDA1CC0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4679758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  <p:txBody>
          <a:bodyPr/>
          <a:lstStyle/>
          <a:p>
            <a:endParaRPr dirty="0"/>
          </a:p>
        </p:txBody>
      </p:sp>
      <p:sp>
        <p:nvSpPr>
          <p:cNvPr id="46" name="Shape 46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defTabSz="228600" latinLnBrk="0">
      <a:lnSpc>
        <a:spcPct val="117999"/>
      </a:lnSpc>
      <a:defRPr sz="1100" b="0" i="0">
        <a:latin typeface="Arial" panose="020B0604020202020204" pitchFamily="34" charset="0"/>
        <a:ea typeface="+mn-ea"/>
        <a:cs typeface="Arial" panose="020B0604020202020204" pitchFamily="34" charset="0"/>
        <a:sym typeface="Helvetica Neue"/>
      </a:defRPr>
    </a:lvl1pPr>
    <a:lvl2pPr indent="1143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2pPr>
    <a:lvl3pPr indent="2286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3pPr>
    <a:lvl4pPr indent="3429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4pPr>
    <a:lvl5pPr indent="4572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5pPr>
    <a:lvl6pPr indent="5715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6pPr>
    <a:lvl7pPr indent="6858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7pPr>
    <a:lvl8pPr indent="8001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8pPr>
    <a:lvl9pPr indent="9144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510441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7207960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6989070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1387952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61617151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6514682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57379589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05643626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47712764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13914467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9549329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85991795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0920513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8430573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477098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5034487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1730933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6244576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6786528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191698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3.emf"/><Relationship Id="rId4" Type="http://schemas.openxmlformats.org/officeDocument/2006/relationships/image" Target="../media/image12.emf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3.emf"/><Relationship Id="rId4" Type="http://schemas.openxmlformats.org/officeDocument/2006/relationships/image" Target="../media/image13.emf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3.emf"/><Relationship Id="rId4" Type="http://schemas.openxmlformats.org/officeDocument/2006/relationships/image" Target="../media/image15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3.emf"/><Relationship Id="rId4" Type="http://schemas.openxmlformats.org/officeDocument/2006/relationships/image" Target="../media/image16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8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0.svg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23.png"/><Relationship Id="rId4" Type="http://schemas.openxmlformats.org/officeDocument/2006/relationships/image" Target="../media/image22.emf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3.emf"/><Relationship Id="rId4" Type="http://schemas.openxmlformats.org/officeDocument/2006/relationships/image" Target="../media/image5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image" Target="../media/image7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3.emf"/><Relationship Id="rId4" Type="http://schemas.openxmlformats.org/officeDocument/2006/relationships/image" Target="../media/image8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3.emf"/><Relationship Id="rId4" Type="http://schemas.openxmlformats.org/officeDocument/2006/relationships/image" Target="../media/image9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3.emf"/><Relationship Id="rId4" Type="http://schemas.openxmlformats.org/officeDocument/2006/relationships/image" Target="../media/image10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3.emf"/><Relationship Id="rId4" Type="http://schemas.openxmlformats.org/officeDocument/2006/relationships/image" Target="../media/image1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ortada con vide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B0334AC3-1221-0D47-8376-248BE6D996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31059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B0334AC3-1221-0D47-8376-248BE6D996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:a16="http://schemas.microsoft.com/office/drawing/2014/main" id="{FF98E1B1-3B0B-3241-93AC-BE8D1054EBCA}"/>
              </a:ext>
            </a:extLst>
          </p:cNvPr>
          <p:cNvSpPr txBox="1"/>
          <p:nvPr userDrawn="1"/>
        </p:nvSpPr>
        <p:spPr>
          <a:xfrm>
            <a:off x="10894936" y="5576309"/>
            <a:ext cx="943790" cy="5498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200" dirty="0" err="1">
                <a:solidFill>
                  <a:schemeClr val="tx1"/>
                </a:solidFill>
              </a:rPr>
              <a:t>Asociación</a:t>
            </a:r>
            <a:r>
              <a:rPr sz="1200" dirty="0">
                <a:solidFill>
                  <a:schemeClr val="tx1"/>
                </a:solidFill>
              </a:rPr>
              <a:t> </a:t>
            </a:r>
            <a:r>
              <a:rPr sz="1200" dirty="0" err="1">
                <a:solidFill>
                  <a:schemeClr val="tx1"/>
                </a:solidFill>
              </a:rPr>
              <a:t>Chilena</a:t>
            </a:r>
            <a:r>
              <a:rPr sz="1200" dirty="0">
                <a:solidFill>
                  <a:schemeClr val="tx1"/>
                </a:solidFill>
              </a:rPr>
              <a:t> de </a:t>
            </a:r>
            <a:r>
              <a:rPr sz="1200" dirty="0" err="1">
                <a:solidFill>
                  <a:schemeClr val="tx1"/>
                </a:solidFill>
              </a:rPr>
              <a:t>Seguridad</a:t>
            </a:r>
            <a:endParaRPr sz="1200" dirty="0">
              <a:solidFill>
                <a:schemeClr val="tx1"/>
              </a:solidFill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16A13A-EE62-714D-B8F2-66374C530E6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938646" y="452438"/>
            <a:ext cx="796227" cy="796227"/>
          </a:xfrm>
          <a:prstGeom prst="rect">
            <a:avLst/>
          </a:prstGeom>
        </p:spPr>
      </p:pic>
      <p:sp>
        <p:nvSpPr>
          <p:cNvPr id="3" name="Marcador de medios 2">
            <a:extLst>
              <a:ext uri="{FF2B5EF4-FFF2-40B4-BE49-F238E27FC236}">
                <a16:creationId xmlns:a16="http://schemas.microsoft.com/office/drawing/2014/main" id="{C973E70C-A82E-2D4A-9356-A6B7BEB2D9E7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04521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 video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E34CFCBD-6BB7-F648-9E9C-2744D15597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47905" y="6307024"/>
            <a:ext cx="1039662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1C8615B2-F301-C248-8F1D-74E1A6F6E8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7128" y="1248665"/>
            <a:ext cx="4901682" cy="130036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  <a:highlight>
                  <a:srgbClr val="106737"/>
                </a:highlight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Arial Bold - 3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2779475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658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7157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CC8A321-110D-F84C-BC3A-3F4DCCDA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Marcador de posición de imagen 48">
            <a:extLst>
              <a:ext uri="{FF2B5EF4-FFF2-40B4-BE49-F238E27FC236}">
                <a16:creationId xmlns:a16="http://schemas.microsoft.com/office/drawing/2014/main" id="{1B440493-E3F4-1342-A810-C3F9FAEC89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84383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 para incorporar una imagen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56" name="Marcador de posición de imagen 48">
            <a:extLst>
              <a:ext uri="{FF2B5EF4-FFF2-40B4-BE49-F238E27FC236}">
                <a16:creationId xmlns:a16="http://schemas.microsoft.com/office/drawing/2014/main" id="{E5FAA08C-8A49-324F-84B7-1DB2F697B2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666994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58" name="Marcador de posición de imagen 48">
            <a:extLst>
              <a:ext uri="{FF2B5EF4-FFF2-40B4-BE49-F238E27FC236}">
                <a16:creationId xmlns:a16="http://schemas.microsoft.com/office/drawing/2014/main" id="{34FF0757-2DED-4B4A-B2FA-00557BE896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749605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61" name="Título 1">
            <a:extLst>
              <a:ext uri="{FF2B5EF4-FFF2-40B4-BE49-F238E27FC236}">
                <a16:creationId xmlns:a16="http://schemas.microsoft.com/office/drawing/2014/main" id="{AF37E838-6566-A847-ABB9-7092F1C160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28" y="458787"/>
            <a:ext cx="5120382" cy="720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0</a:t>
            </a:r>
            <a:endParaRPr lang="es-CL" dirty="0"/>
          </a:p>
        </p:txBody>
      </p:sp>
      <p:sp>
        <p:nvSpPr>
          <p:cNvPr id="9" name="Marcador de posición de imagen 48">
            <a:extLst>
              <a:ext uri="{FF2B5EF4-FFF2-40B4-BE49-F238E27FC236}">
                <a16:creationId xmlns:a16="http://schemas.microsoft.com/office/drawing/2014/main" id="{2DFEDD8C-A34C-B34F-A4D7-68530375A6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32215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6A7883B1-3426-A549-92EA-BD1A4023AD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4383" y="4082327"/>
            <a:ext cx="1910496" cy="156391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spcAft>
                <a:spcPts val="1000"/>
              </a:spcAft>
              <a:buNone/>
              <a:defRPr sz="1600" b="1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 dirty="0">
                <a:solidFill>
                  <a:schemeClr val="bg2"/>
                </a:solidFill>
              </a:rPr>
              <a:t>Texto que indica el capítulo en el que estamos</a:t>
            </a:r>
          </a:p>
          <a:p>
            <a:r>
              <a:rPr lang="es-ES" dirty="0">
                <a:solidFill>
                  <a:schemeClr val="bg2"/>
                </a:solidFill>
              </a:rPr>
              <a:t>Arial Bold 16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:a16="http://schemas.microsoft.com/office/drawing/2014/main" id="{57CED1DC-47B6-A343-BB28-616597DA9F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67014" y="4082774"/>
            <a:ext cx="191049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ombre Capítulo 2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8" name="Marcador de texto 7">
            <a:extLst>
              <a:ext uri="{FF2B5EF4-FFF2-40B4-BE49-F238E27FC236}">
                <a16:creationId xmlns:a16="http://schemas.microsoft.com/office/drawing/2014/main" id="{D2B3CAFC-D9A0-A34F-BD98-4510B81946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49645" y="4082774"/>
            <a:ext cx="191049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ombre Capítulo 3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9" name="Marcador de texto 7">
            <a:extLst>
              <a:ext uri="{FF2B5EF4-FFF2-40B4-BE49-F238E27FC236}">
                <a16:creationId xmlns:a16="http://schemas.microsoft.com/office/drawing/2014/main" id="{BB19E2D3-8F9F-1C41-92D8-77569D2902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32275" y="4082774"/>
            <a:ext cx="191049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ombre Capítulo 4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21" name="Marcador de texto 4">
            <a:extLst>
              <a:ext uri="{FF2B5EF4-FFF2-40B4-BE49-F238E27FC236}">
                <a16:creationId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6624" y="1926714"/>
            <a:ext cx="1199956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2" name="Marcador de texto 4">
            <a:extLst>
              <a:ext uri="{FF2B5EF4-FFF2-40B4-BE49-F238E27FC236}">
                <a16:creationId xmlns:a16="http://schemas.microsoft.com/office/drawing/2014/main" id="{0BD763DB-BA4F-3A45-83C4-B7A958FB7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2434" y="1926714"/>
            <a:ext cx="1199956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3" name="Marcador de texto 4">
            <a:extLst>
              <a:ext uri="{FF2B5EF4-FFF2-40B4-BE49-F238E27FC236}">
                <a16:creationId xmlns:a16="http://schemas.microsoft.com/office/drawing/2014/main" id="{D9664D75-F6A1-C840-9C99-011D855552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98244" y="1926714"/>
            <a:ext cx="1199956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id="{F564BB9F-E578-B04F-B48F-901C810196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684055" y="1926714"/>
            <a:ext cx="1199956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id="{07081626-6779-8F48-ACCC-F89FF4EFC3FB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0" name="Marcador de número de diapositiva 1">
            <a:extLst>
              <a:ext uri="{FF2B5EF4-FFF2-40B4-BE49-F238E27FC236}">
                <a16:creationId xmlns:a16="http://schemas.microsoft.com/office/drawing/2014/main" id="{FDE431FB-014C-F048-8EDC-BF5DCEA4DFD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</p:spTree>
    <p:extLst>
      <p:ext uri="{BB962C8B-B14F-4D97-AF65-F5344CB8AC3E}">
        <p14:creationId xmlns:p14="http://schemas.microsoft.com/office/powerpoint/2010/main" val="33300340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61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289" userDrawn="1">
          <p15:clr>
            <a:srgbClr val="FBAE40"/>
          </p15:clr>
        </p15:guide>
        <p15:guide id="4" pos="7061" userDrawn="1">
          <p15:clr>
            <a:srgbClr val="FBAE40"/>
          </p15:clr>
        </p15:guide>
        <p15:guide id="5" orient="horz" pos="155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613260"/>
            <a:ext cx="2401643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53" name="Conector recto 74">
            <a:extLst>
              <a:ext uri="{FF2B5EF4-FFF2-40B4-BE49-F238E27FC236}">
                <a16:creationId xmlns:a16="http://schemas.microsoft.com/office/drawing/2014/main" id="{5BEE3994-12D6-1249-9576-D8A33A059B6C}"/>
              </a:ext>
            </a:extLst>
          </p:cNvPr>
          <p:cNvSpPr/>
          <p:nvPr userDrawn="1"/>
        </p:nvSpPr>
        <p:spPr>
          <a:xfrm flipH="1">
            <a:off x="443707" y="3340780"/>
            <a:ext cx="2404800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60" rIns="22860"/>
          <a:lstStyle/>
          <a:p>
            <a:pPr defTabSz="1218406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10144" y="2750750"/>
            <a:ext cx="1266108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09EEDC92-36AB-3740-B395-D2782D6591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28642" y="3613260"/>
            <a:ext cx="2401643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74" name="Conector recto 74">
            <a:extLst>
              <a:ext uri="{FF2B5EF4-FFF2-40B4-BE49-F238E27FC236}">
                <a16:creationId xmlns:a16="http://schemas.microsoft.com/office/drawing/2014/main" id="{1892524C-5625-4F43-95F1-2336FF662D99}"/>
              </a:ext>
            </a:extLst>
          </p:cNvPr>
          <p:cNvSpPr/>
          <p:nvPr userDrawn="1"/>
        </p:nvSpPr>
        <p:spPr>
          <a:xfrm flipH="1">
            <a:off x="9325485" y="3340780"/>
            <a:ext cx="2404800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60" rIns="22860"/>
          <a:lstStyle/>
          <a:p>
            <a:pPr defTabSz="1218406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75" name="Marcador de texto 7">
            <a:extLst>
              <a:ext uri="{FF2B5EF4-FFF2-40B4-BE49-F238E27FC236}">
                <a16:creationId xmlns:a16="http://schemas.microsoft.com/office/drawing/2014/main" id="{FBDEA04A-F7FF-7A4B-A6D6-7B80347F9C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487566" y="2750750"/>
            <a:ext cx="1327577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</a:p>
          <a:p>
            <a:pPr lvl="0"/>
            <a:endParaRPr lang="es-CL" dirty="0"/>
          </a:p>
        </p:txBody>
      </p:sp>
      <p:sp>
        <p:nvSpPr>
          <p:cNvPr id="79" name="Marcador de texto 7">
            <a:extLst>
              <a:ext uri="{FF2B5EF4-FFF2-40B4-BE49-F238E27FC236}">
                <a16:creationId xmlns:a16="http://schemas.microsoft.com/office/drawing/2014/main" id="{F5423D24-59DD-744A-8BC7-9DE94EAB413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85092" y="3613260"/>
            <a:ext cx="2401643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80" name="Conector recto 74">
            <a:extLst>
              <a:ext uri="{FF2B5EF4-FFF2-40B4-BE49-F238E27FC236}">
                <a16:creationId xmlns:a16="http://schemas.microsoft.com/office/drawing/2014/main" id="{4B745506-C1E7-2346-B2DA-DBC633F63A51}"/>
              </a:ext>
            </a:extLst>
          </p:cNvPr>
          <p:cNvSpPr/>
          <p:nvPr userDrawn="1"/>
        </p:nvSpPr>
        <p:spPr>
          <a:xfrm flipH="1">
            <a:off x="6385092" y="3340780"/>
            <a:ext cx="2404800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60" rIns="22860"/>
          <a:lstStyle/>
          <a:p>
            <a:pPr defTabSz="1218406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81" name="Marcador de texto 7">
            <a:extLst>
              <a:ext uri="{FF2B5EF4-FFF2-40B4-BE49-F238E27FC236}">
                <a16:creationId xmlns:a16="http://schemas.microsoft.com/office/drawing/2014/main" id="{A81970EB-E356-9143-BA0B-A32ACF2264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551529" y="2750750"/>
            <a:ext cx="1399147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85" name="Marcador de texto 7">
            <a:extLst>
              <a:ext uri="{FF2B5EF4-FFF2-40B4-BE49-F238E27FC236}">
                <a16:creationId xmlns:a16="http://schemas.microsoft.com/office/drawing/2014/main" id="{CBB12395-7669-B540-A483-15E3C0663A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15008" y="3613260"/>
            <a:ext cx="2401643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86" name="Conector recto 74">
            <a:extLst>
              <a:ext uri="{FF2B5EF4-FFF2-40B4-BE49-F238E27FC236}">
                <a16:creationId xmlns:a16="http://schemas.microsoft.com/office/drawing/2014/main" id="{F48F5271-2008-8D47-8756-E000ADACC1E6}"/>
              </a:ext>
            </a:extLst>
          </p:cNvPr>
          <p:cNvSpPr/>
          <p:nvPr userDrawn="1"/>
        </p:nvSpPr>
        <p:spPr>
          <a:xfrm flipH="1">
            <a:off x="3415008" y="3340780"/>
            <a:ext cx="2404800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60" rIns="22860"/>
          <a:lstStyle/>
          <a:p>
            <a:pPr defTabSz="1218406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87" name="Marcador de texto 7">
            <a:extLst>
              <a:ext uri="{FF2B5EF4-FFF2-40B4-BE49-F238E27FC236}">
                <a16:creationId xmlns:a16="http://schemas.microsoft.com/office/drawing/2014/main" id="{A9A75FA4-4920-B749-9B33-9A58CCB533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9571" y="2750750"/>
            <a:ext cx="1340162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0A11C487-0115-5F4D-9992-15BD35A4BC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263" y="450851"/>
            <a:ext cx="717073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20</a:t>
            </a:r>
          </a:p>
        </p:txBody>
      </p:sp>
      <p:sp>
        <p:nvSpPr>
          <p:cNvPr id="42" name="Marcador de posición de imagen 3">
            <a:extLst>
              <a:ext uri="{FF2B5EF4-FFF2-40B4-BE49-F238E27FC236}">
                <a16:creationId xmlns:a16="http://schemas.microsoft.com/office/drawing/2014/main" id="{0E8ACCB5-DDCA-6E42-A59F-C19DA54AD94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51220" y="2552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3" name="Marcador de posición de imagen 3">
            <a:extLst>
              <a:ext uri="{FF2B5EF4-FFF2-40B4-BE49-F238E27FC236}">
                <a16:creationId xmlns:a16="http://schemas.microsoft.com/office/drawing/2014/main" id="{A6B8CBED-9A8C-2E41-87A9-A4B4A73095C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3415008" y="2552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4" name="Marcador de posición de imagen 3">
            <a:extLst>
              <a:ext uri="{FF2B5EF4-FFF2-40B4-BE49-F238E27FC236}">
                <a16:creationId xmlns:a16="http://schemas.microsoft.com/office/drawing/2014/main" id="{F8CBC851-6BCB-564E-829F-58E5E2D2ABA4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6385092" y="2552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5" name="Marcador de posición de imagen 3">
            <a:extLst>
              <a:ext uri="{FF2B5EF4-FFF2-40B4-BE49-F238E27FC236}">
                <a16:creationId xmlns:a16="http://schemas.microsoft.com/office/drawing/2014/main" id="{34ABF4E0-6CDE-E249-95A2-A7A05A1C8A22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9333004" y="2552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cxnSp>
        <p:nvCxnSpPr>
          <p:cNvPr id="24" name="Conector recto 23">
            <a:extLst>
              <a:ext uri="{FF2B5EF4-FFF2-40B4-BE49-F238E27FC236}">
                <a16:creationId xmlns:a16="http://schemas.microsoft.com/office/drawing/2014/main" id="{2EB6015A-54E5-CE40-8931-D2744599943C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5" name="Marcador de texto 7">
            <a:extLst>
              <a:ext uri="{FF2B5EF4-FFF2-40B4-BE49-F238E27FC236}">
                <a16:creationId xmlns:a16="http://schemas.microsoft.com/office/drawing/2014/main" id="{9F9272ED-A3F0-4441-B27D-226E549374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833693"/>
            <a:ext cx="717073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:a16="http://schemas.microsoft.com/office/drawing/2014/main" id="{291A3B44-4A83-A74C-8554-067ABD362AD5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</p:spTree>
    <p:extLst>
      <p:ext uri="{BB962C8B-B14F-4D97-AF65-F5344CB8AC3E}">
        <p14:creationId xmlns:p14="http://schemas.microsoft.com/office/powerpoint/2010/main" val="218805141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1366" userDrawn="1">
          <p15:clr>
            <a:srgbClr val="FBAE40"/>
          </p15:clr>
        </p15:guide>
        <p15:guide id="2" pos="280" userDrawn="1">
          <p15:clr>
            <a:srgbClr val="FBAE40"/>
          </p15:clr>
        </p15:guide>
        <p15:guide id="3" pos="179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992DC3DA-CCAD-CF46-BC96-16FE1F9283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263" y="450851"/>
            <a:ext cx="717073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20</a:t>
            </a:r>
          </a:p>
        </p:txBody>
      </p: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10FBBCFE-48E0-C041-983C-E33D245A0952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2FC2324D-E48A-AA4F-9B9C-ACA71D2E89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833693"/>
            <a:ext cx="717073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:a16="http://schemas.microsoft.com/office/drawing/2014/main" id="{29A3CDD8-DB45-3C4B-9DEB-D4CFB5DFC35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4A9850EF-AAA8-8A42-93DD-9D791D527C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15349"/>
            <a:ext cx="11365880" cy="4735858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buFontTx/>
              <a:buNone/>
              <a:defRPr sz="1600">
                <a:solidFill>
                  <a:schemeClr val="tx2"/>
                </a:solidFill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itchFamily="2" charset="2"/>
              <a:buChar char="§"/>
              <a:tabLst/>
              <a:defRPr sz="1400">
                <a:solidFill>
                  <a:schemeClr val="tx2"/>
                </a:solidFill>
              </a:defRPr>
            </a:lvl2pPr>
            <a:lvl3pPr marL="941388" indent="-331788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tx2"/>
                </a:solidFill>
              </a:defRPr>
            </a:lvl3pPr>
            <a:lvl4pPr marL="1247775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tx2"/>
                </a:solidFill>
              </a:defRPr>
            </a:lvl4pPr>
            <a:lvl5pPr marL="1651000" indent="-4318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Párrafo solo texto Arial 16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2"/>
            <a:r>
              <a:rPr lang="es-ES" dirty="0"/>
              <a:t>Sub-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Sub-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4"/>
            <a:r>
              <a:rPr lang="es-ES" dirty="0"/>
              <a:t>Sub-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4"/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08783571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ulo, sub titulo y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992DC3DA-CCAD-CF46-BC96-16FE1F9283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263" y="450851"/>
            <a:ext cx="717073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20</a:t>
            </a:r>
          </a:p>
        </p:txBody>
      </p: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10FBBCFE-48E0-C041-983C-E33D245A0952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2FC2324D-E48A-AA4F-9B9C-ACA71D2E89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833693"/>
            <a:ext cx="717073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:a16="http://schemas.microsoft.com/office/drawing/2014/main" id="{A5BC562B-8075-3C4C-A449-F53BCE5866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</p:spTree>
    <p:extLst>
      <p:ext uri="{BB962C8B-B14F-4D97-AF65-F5344CB8AC3E}">
        <p14:creationId xmlns:p14="http://schemas.microsoft.com/office/powerpoint/2010/main" val="378766968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ulo, sub titulo y logo fondo ver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992DC3DA-CCAD-CF46-BC96-16FE1F9283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263" y="450851"/>
            <a:ext cx="717073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20</a:t>
            </a:r>
          </a:p>
        </p:txBody>
      </p: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10FBBCFE-48E0-C041-983C-E33D245A0952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2FC2324D-E48A-AA4F-9B9C-ACA71D2E89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833693"/>
            <a:ext cx="717073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:a16="http://schemas.microsoft.com/office/drawing/2014/main" id="{025838F8-F232-B04E-AF29-81617EA89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946702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F257A930-1B12-7B4A-B402-734BCB48BA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63158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F257A930-1B12-7B4A-B402-734BCB48BA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>
            <a:extLst>
              <a:ext uri="{FF2B5EF4-FFF2-40B4-BE49-F238E27FC236}">
                <a16:creationId xmlns:a16="http://schemas.microsoft.com/office/drawing/2014/main" id="{43C07928-B23C-C049-8D57-638AEAE25D0A}"/>
              </a:ext>
            </a:extLst>
          </p:cNvPr>
          <p:cNvSpPr/>
          <p:nvPr userDrawn="1"/>
        </p:nvSpPr>
        <p:spPr>
          <a:xfrm>
            <a:off x="9215252" y="2327563"/>
            <a:ext cx="2520000" cy="34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20" name="Conector recto 74">
            <a:extLst>
              <a:ext uri="{FF2B5EF4-FFF2-40B4-BE49-F238E27FC236}">
                <a16:creationId xmlns:a16="http://schemas.microsoft.com/office/drawing/2014/main" id="{D53F8420-F737-A142-8C02-3370D732A139}"/>
              </a:ext>
            </a:extLst>
          </p:cNvPr>
          <p:cNvSpPr/>
          <p:nvPr userDrawn="1"/>
        </p:nvSpPr>
        <p:spPr>
          <a:xfrm flipH="1">
            <a:off x="2901999" y="2346859"/>
            <a:ext cx="1" cy="340070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60" rIns="22860"/>
          <a:lstStyle/>
          <a:p>
            <a:pPr defTabSz="1218406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21" name="Conector recto 74">
            <a:extLst>
              <a:ext uri="{FF2B5EF4-FFF2-40B4-BE49-F238E27FC236}">
                <a16:creationId xmlns:a16="http://schemas.microsoft.com/office/drawing/2014/main" id="{D6D37DC4-4EA6-9544-8D43-FDA98A0A4224}"/>
              </a:ext>
            </a:extLst>
          </p:cNvPr>
          <p:cNvSpPr/>
          <p:nvPr userDrawn="1"/>
        </p:nvSpPr>
        <p:spPr>
          <a:xfrm flipH="1">
            <a:off x="5632357" y="2346859"/>
            <a:ext cx="1" cy="340070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60" rIns="22860"/>
          <a:lstStyle/>
          <a:p>
            <a:pPr defTabSz="1218406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34" name="Marcador de texto 7">
            <a:extLst>
              <a:ext uri="{FF2B5EF4-FFF2-40B4-BE49-F238E27FC236}">
                <a16:creationId xmlns:a16="http://schemas.microsoft.com/office/drawing/2014/main" id="{7B419ADE-2D25-974C-863D-0EC0DFC0A5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1220" y="3117333"/>
            <a:ext cx="1992996" cy="5486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665997"/>
            <a:ext cx="1992996" cy="20815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0" name="Marcador de texto 7">
            <a:extLst>
              <a:ext uri="{FF2B5EF4-FFF2-40B4-BE49-F238E27FC236}">
                <a16:creationId xmlns:a16="http://schemas.microsoft.com/office/drawing/2014/main" id="{AA696213-3CE3-8141-BE88-BE027163D6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83305" y="3117333"/>
            <a:ext cx="1992996" cy="5486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s-CL" sz="1600" b="1" dirty="0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0DFE9962-D69F-9F46-8D1F-D4F2B672D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83305" y="3654541"/>
            <a:ext cx="1992996" cy="20930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5" name="Marcador de texto 7">
            <a:extLst>
              <a:ext uri="{FF2B5EF4-FFF2-40B4-BE49-F238E27FC236}">
                <a16:creationId xmlns:a16="http://schemas.microsoft.com/office/drawing/2014/main" id="{C95A676F-0AE0-C944-BE25-BD527CB9FE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37631" y="3117333"/>
            <a:ext cx="1992996" cy="5486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s-CL" sz="1600" b="1" dirty="0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id="{40F028AC-5B4A-9844-94D7-770F95E501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37631" y="3665997"/>
            <a:ext cx="1992996" cy="20815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0" name="Marcador de texto 7">
            <a:extLst>
              <a:ext uri="{FF2B5EF4-FFF2-40B4-BE49-F238E27FC236}">
                <a16:creationId xmlns:a16="http://schemas.microsoft.com/office/drawing/2014/main" id="{CBFD6792-9E13-7E48-9CEA-7FCD45D83A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83421" y="2493112"/>
            <a:ext cx="2385229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1" name="Marcador de texto 7">
            <a:extLst>
              <a:ext uri="{FF2B5EF4-FFF2-40B4-BE49-F238E27FC236}">
                <a16:creationId xmlns:a16="http://schemas.microsoft.com/office/drawing/2014/main" id="{108DB484-1780-D345-A1D5-E256BC38977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83421" y="3020651"/>
            <a:ext cx="2385229" cy="2619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4" name="Marcador de posición de imagen 3">
            <a:extLst>
              <a:ext uri="{FF2B5EF4-FFF2-40B4-BE49-F238E27FC236}">
                <a16:creationId xmlns:a16="http://schemas.microsoft.com/office/drawing/2014/main" id="{DC8111CA-F1A2-044A-A61E-5D535C8840BE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183305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0" name="Marcador de posición de imagen 3">
            <a:extLst>
              <a:ext uri="{FF2B5EF4-FFF2-40B4-BE49-F238E27FC236}">
                <a16:creationId xmlns:a16="http://schemas.microsoft.com/office/drawing/2014/main" id="{6F2BA060-6F09-A74D-BBF5-6F8F93A5EEF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5937631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1" name="Marcador de posición de imagen 3">
            <a:extLst>
              <a:ext uri="{FF2B5EF4-FFF2-40B4-BE49-F238E27FC236}">
                <a16:creationId xmlns:a16="http://schemas.microsoft.com/office/drawing/2014/main" id="{F49B1752-2690-5047-BF37-65DC322FED38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54170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6" name="Línea">
            <a:extLst>
              <a:ext uri="{FF2B5EF4-FFF2-40B4-BE49-F238E27FC236}">
                <a16:creationId xmlns:a16="http://schemas.microsoft.com/office/drawing/2014/main" id="{2444CEDB-830B-134F-A2D4-D6873E299AB1}"/>
              </a:ext>
            </a:extLst>
          </p:cNvPr>
          <p:cNvSpPr/>
          <p:nvPr userDrawn="1"/>
        </p:nvSpPr>
        <p:spPr>
          <a:xfrm>
            <a:off x="8511505" y="2318308"/>
            <a:ext cx="280081" cy="34292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25400" tIns="25400" rIns="25400" bIns="25400" anchor="ctr"/>
          <a:lstStyle/>
          <a:p>
            <a:pPr defTabSz="1218406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25" name="Marcador de texto 7">
            <a:extLst>
              <a:ext uri="{FF2B5EF4-FFF2-40B4-BE49-F238E27FC236}">
                <a16:creationId xmlns:a16="http://schemas.microsoft.com/office/drawing/2014/main" id="{DB36B937-29C9-2947-86D7-0F04B96A15F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263" y="450851"/>
            <a:ext cx="717073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20</a:t>
            </a:r>
          </a:p>
        </p:txBody>
      </p:sp>
      <p:cxnSp>
        <p:nvCxnSpPr>
          <p:cNvPr id="28" name="Conector recto 27">
            <a:extLst>
              <a:ext uri="{FF2B5EF4-FFF2-40B4-BE49-F238E27FC236}">
                <a16:creationId xmlns:a16="http://schemas.microsoft.com/office/drawing/2014/main" id="{5B8BBE65-34C8-6645-AEB0-45E511C9BE9E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9" name="Marcador de texto 7">
            <a:extLst>
              <a:ext uri="{FF2B5EF4-FFF2-40B4-BE49-F238E27FC236}">
                <a16:creationId xmlns:a16="http://schemas.microsoft.com/office/drawing/2014/main" id="{426983E7-5647-B149-9C90-D5E24D1144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833693"/>
            <a:ext cx="717073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sp>
        <p:nvSpPr>
          <p:cNvPr id="27" name="Marcador de número de diapositiva 1">
            <a:extLst>
              <a:ext uri="{FF2B5EF4-FFF2-40B4-BE49-F238E27FC236}">
                <a16:creationId xmlns:a16="http://schemas.microsoft.com/office/drawing/2014/main" id="{34BED3D6-BA71-8C4F-B456-2184D1F7C755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id="{FF04CA93-3E1F-8E43-9711-E7B6B957A42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7" y="6467632"/>
            <a:ext cx="8376505" cy="371826"/>
          </a:xfrm>
          <a:prstGeom prst="rect">
            <a:avLst/>
          </a:prstGeom>
        </p:spPr>
        <p:txBody>
          <a:bodyPr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cundario fuente Arial 9</a:t>
            </a:r>
          </a:p>
        </p:txBody>
      </p:sp>
    </p:spTree>
    <p:extLst>
      <p:ext uri="{BB962C8B-B14F-4D97-AF65-F5344CB8AC3E}">
        <p14:creationId xmlns:p14="http://schemas.microsoft.com/office/powerpoint/2010/main" val="385369450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6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comparativa con foto/lámina comparativa foto/ico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21" name="Conector recto 74">
            <a:extLst>
              <a:ext uri="{FF2B5EF4-FFF2-40B4-BE49-F238E27FC236}">
                <a16:creationId xmlns:a16="http://schemas.microsoft.com/office/drawing/2014/main" id="{D6D37DC4-4EA6-9544-8D43-FDA98A0A4224}"/>
              </a:ext>
            </a:extLst>
          </p:cNvPr>
          <p:cNvSpPr/>
          <p:nvPr userDrawn="1"/>
        </p:nvSpPr>
        <p:spPr>
          <a:xfrm>
            <a:off x="5760868" y="1888942"/>
            <a:ext cx="0" cy="4358665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60" rIns="22860"/>
          <a:lstStyle/>
          <a:p>
            <a:pPr defTabSz="1218406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8232" y="3984492"/>
            <a:ext cx="1992996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0DFE9962-D69F-9F46-8D1F-D4F2B672D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48706" y="3984492"/>
            <a:ext cx="1992996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id="{40F028AC-5B4A-9844-94D7-770F95E501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26914" y="3984492"/>
            <a:ext cx="1992996" cy="22154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3" name="Conector recto 74">
            <a:extLst>
              <a:ext uri="{FF2B5EF4-FFF2-40B4-BE49-F238E27FC236}">
                <a16:creationId xmlns:a16="http://schemas.microsoft.com/office/drawing/2014/main" id="{5BEE3994-12D6-1249-9576-D8A33A059B6C}"/>
              </a:ext>
            </a:extLst>
          </p:cNvPr>
          <p:cNvSpPr/>
          <p:nvPr userDrawn="1"/>
        </p:nvSpPr>
        <p:spPr>
          <a:xfrm>
            <a:off x="2975524" y="1888942"/>
            <a:ext cx="0" cy="4358665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60" rIns="22860"/>
          <a:lstStyle/>
          <a:p>
            <a:pPr defTabSz="1218406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8232" y="3424296"/>
            <a:ext cx="1992996" cy="468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55" name="Marcador de texto 7">
            <a:extLst>
              <a:ext uri="{FF2B5EF4-FFF2-40B4-BE49-F238E27FC236}">
                <a16:creationId xmlns:a16="http://schemas.microsoft.com/office/drawing/2014/main" id="{02CB12F5-EDD8-E346-9DE9-3A19237D42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48706" y="3424296"/>
            <a:ext cx="1992996" cy="468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56" name="Marcador de texto 7">
            <a:extLst>
              <a:ext uri="{FF2B5EF4-FFF2-40B4-BE49-F238E27FC236}">
                <a16:creationId xmlns:a16="http://schemas.microsoft.com/office/drawing/2014/main" id="{5D9451A5-0C90-6A4B-9663-51CDE3D8B0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26914" y="3424296"/>
            <a:ext cx="1992996" cy="468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57" name="Marcador de posición de imagen 2">
            <a:extLst>
              <a:ext uri="{FF2B5EF4-FFF2-40B4-BE49-F238E27FC236}">
                <a16:creationId xmlns:a16="http://schemas.microsoft.com/office/drawing/2014/main" id="{D3DF0AC5-CFA7-6341-8507-840E9C986E3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8232" y="1889084"/>
            <a:ext cx="1619250" cy="12136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58" name="Marcador de posición de imagen 2">
            <a:extLst>
              <a:ext uri="{FF2B5EF4-FFF2-40B4-BE49-F238E27FC236}">
                <a16:creationId xmlns:a16="http://schemas.microsoft.com/office/drawing/2014/main" id="{17B499AE-C5B2-794D-8551-F1F602A885B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248706" y="1889084"/>
            <a:ext cx="1619250" cy="12136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59" name="Marcador de posición de imagen 2">
            <a:extLst>
              <a:ext uri="{FF2B5EF4-FFF2-40B4-BE49-F238E27FC236}">
                <a16:creationId xmlns:a16="http://schemas.microsoft.com/office/drawing/2014/main" id="{DE550592-7ED0-A544-9D4F-0101680080E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026914" y="1889084"/>
            <a:ext cx="1619250" cy="12136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2C43F09E-A773-E547-95D6-CF8477D8072A}"/>
              </a:ext>
            </a:extLst>
          </p:cNvPr>
          <p:cNvSpPr>
            <a:spLocks/>
          </p:cNvSpPr>
          <p:nvPr userDrawn="1"/>
        </p:nvSpPr>
        <p:spPr>
          <a:xfrm>
            <a:off x="9181975" y="1899775"/>
            <a:ext cx="2556000" cy="428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0" name="Marcador de texto 7">
            <a:extLst>
              <a:ext uri="{FF2B5EF4-FFF2-40B4-BE49-F238E27FC236}">
                <a16:creationId xmlns:a16="http://schemas.microsoft.com/office/drawing/2014/main" id="{ADDB372D-3C0A-9843-8A24-4C447B4FFFC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73147" y="2033486"/>
            <a:ext cx="238270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1" name="Marcador de texto 7">
            <a:extLst>
              <a:ext uri="{FF2B5EF4-FFF2-40B4-BE49-F238E27FC236}">
                <a16:creationId xmlns:a16="http://schemas.microsoft.com/office/drawing/2014/main" id="{4F4164F6-0B99-AC40-82D2-06A1C9776C2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73147" y="2623930"/>
            <a:ext cx="2382703" cy="34455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32" name="Marcador de texto 4">
            <a:extLst>
              <a:ext uri="{FF2B5EF4-FFF2-40B4-BE49-F238E27FC236}">
                <a16:creationId xmlns:a16="http://schemas.microsoft.com/office/drawing/2014/main" id="{63743F2B-A5AE-3F4C-B767-B2E9EB7AA46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7" y="6467632"/>
            <a:ext cx="8376505" cy="371826"/>
          </a:xfrm>
          <a:prstGeom prst="rect">
            <a:avLst/>
          </a:prstGeom>
        </p:spPr>
        <p:txBody>
          <a:bodyPr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cundario fuente Arial 9</a:t>
            </a:r>
          </a:p>
        </p:txBody>
      </p:sp>
      <p:sp>
        <p:nvSpPr>
          <p:cNvPr id="24" name="Línea">
            <a:extLst>
              <a:ext uri="{FF2B5EF4-FFF2-40B4-BE49-F238E27FC236}">
                <a16:creationId xmlns:a16="http://schemas.microsoft.com/office/drawing/2014/main" id="{6381C55E-71FA-7248-BF78-2A722399DBD5}"/>
              </a:ext>
            </a:extLst>
          </p:cNvPr>
          <p:cNvSpPr/>
          <p:nvPr userDrawn="1"/>
        </p:nvSpPr>
        <p:spPr>
          <a:xfrm>
            <a:off x="8511505" y="1899776"/>
            <a:ext cx="280081" cy="43001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25400" tIns="25400" rIns="25400" bIns="25400" anchor="ctr"/>
          <a:lstStyle/>
          <a:p>
            <a:pPr defTabSz="1218406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29" name="Marcador de texto 7">
            <a:extLst>
              <a:ext uri="{FF2B5EF4-FFF2-40B4-BE49-F238E27FC236}">
                <a16:creationId xmlns:a16="http://schemas.microsoft.com/office/drawing/2014/main" id="{C3CBDD02-B9C3-BC4D-B282-0BC98DDF6C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263" y="450851"/>
            <a:ext cx="717073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20</a:t>
            </a:r>
          </a:p>
        </p:txBody>
      </p:sp>
      <p:cxnSp>
        <p:nvCxnSpPr>
          <p:cNvPr id="34" name="Conector recto 33">
            <a:extLst>
              <a:ext uri="{FF2B5EF4-FFF2-40B4-BE49-F238E27FC236}">
                <a16:creationId xmlns:a16="http://schemas.microsoft.com/office/drawing/2014/main" id="{CCEB4C67-BB21-4E4F-907A-F15D1B4D3FA9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5" name="Marcador de texto 7">
            <a:extLst>
              <a:ext uri="{FF2B5EF4-FFF2-40B4-BE49-F238E27FC236}">
                <a16:creationId xmlns:a16="http://schemas.microsoft.com/office/drawing/2014/main" id="{CDB5D4A7-AEBC-4F4C-A3F5-26FDC42C6C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833693"/>
            <a:ext cx="717073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:a16="http://schemas.microsoft.com/office/drawing/2014/main" id="{5BAD7F1D-419D-FF40-B4CE-455DD130ED72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</p:spTree>
    <p:extLst>
      <p:ext uri="{BB962C8B-B14F-4D97-AF65-F5344CB8AC3E}">
        <p14:creationId xmlns:p14="http://schemas.microsoft.com/office/powerpoint/2010/main" val="1920446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06" userDrawn="1">
          <p15:clr>
            <a:srgbClr val="FBAE40"/>
          </p15:clr>
        </p15:guide>
        <p15:guide id="2" pos="280" userDrawn="1">
          <p15:clr>
            <a:srgbClr val="FBAE40"/>
          </p15:clr>
        </p15:guide>
        <p15:guide id="3" orient="horz" pos="1185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1EC41E5-806D-2E4E-AAA0-2EC2EC18FE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71353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1EC41E5-806D-2E4E-AAA0-2EC2EC18FE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>
            <a:extLst>
              <a:ext uri="{FF2B5EF4-FFF2-40B4-BE49-F238E27FC236}">
                <a16:creationId xmlns:a16="http://schemas.microsoft.com/office/drawing/2014/main" id="{2911EB5D-1BA9-2A4A-845D-FB2FAE605904}"/>
              </a:ext>
            </a:extLst>
          </p:cNvPr>
          <p:cNvSpPr/>
          <p:nvPr userDrawn="1"/>
        </p:nvSpPr>
        <p:spPr>
          <a:xfrm>
            <a:off x="9217975" y="2349500"/>
            <a:ext cx="2520000" cy="334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47548" y="2386495"/>
            <a:ext cx="5352116" cy="882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3" name="Conector recto 74">
            <a:extLst>
              <a:ext uri="{FF2B5EF4-FFF2-40B4-BE49-F238E27FC236}">
                <a16:creationId xmlns:a16="http://schemas.microsoft.com/office/drawing/2014/main" id="{5BEE3994-12D6-1249-9576-D8A33A059B6C}"/>
              </a:ext>
            </a:extLst>
          </p:cNvPr>
          <p:cNvSpPr/>
          <p:nvPr userDrawn="1"/>
        </p:nvSpPr>
        <p:spPr>
          <a:xfrm>
            <a:off x="1933377" y="2379377"/>
            <a:ext cx="0" cy="88853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60" rIns="22860"/>
          <a:lstStyle/>
          <a:p>
            <a:pPr defTabSz="1218406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9653" y="2587447"/>
            <a:ext cx="1268757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25" name="Marcador de texto 7">
            <a:extLst>
              <a:ext uri="{FF2B5EF4-FFF2-40B4-BE49-F238E27FC236}">
                <a16:creationId xmlns:a16="http://schemas.microsoft.com/office/drawing/2014/main" id="{50306EC6-0DBE-CA43-A0DD-EF256EA8F17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47548" y="3602232"/>
            <a:ext cx="5352116" cy="882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26" name="Conector recto 74">
            <a:extLst>
              <a:ext uri="{FF2B5EF4-FFF2-40B4-BE49-F238E27FC236}">
                <a16:creationId xmlns:a16="http://schemas.microsoft.com/office/drawing/2014/main" id="{66BC8E95-AD01-7340-AEF4-FA9267A7B96C}"/>
              </a:ext>
            </a:extLst>
          </p:cNvPr>
          <p:cNvSpPr/>
          <p:nvPr userDrawn="1"/>
        </p:nvSpPr>
        <p:spPr>
          <a:xfrm>
            <a:off x="1933377" y="3595114"/>
            <a:ext cx="0" cy="88853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60" rIns="22860"/>
          <a:lstStyle/>
          <a:p>
            <a:pPr defTabSz="1218406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27" name="Marcador de texto 7">
            <a:extLst>
              <a:ext uri="{FF2B5EF4-FFF2-40B4-BE49-F238E27FC236}">
                <a16:creationId xmlns:a16="http://schemas.microsoft.com/office/drawing/2014/main" id="{D0EF8C13-D250-3B48-93E5-9C3D6F1E4C9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653" y="3803184"/>
            <a:ext cx="1268757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28" name="Marcador de texto 7">
            <a:extLst>
              <a:ext uri="{FF2B5EF4-FFF2-40B4-BE49-F238E27FC236}">
                <a16:creationId xmlns:a16="http://schemas.microsoft.com/office/drawing/2014/main" id="{0B4D78F6-630E-0648-BAC8-17387BDBB3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347548" y="4814980"/>
            <a:ext cx="5352116" cy="882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29" name="Conector recto 74">
            <a:extLst>
              <a:ext uri="{FF2B5EF4-FFF2-40B4-BE49-F238E27FC236}">
                <a16:creationId xmlns:a16="http://schemas.microsoft.com/office/drawing/2014/main" id="{0F490E9C-14C0-9941-B731-8CF1EB77CFB0}"/>
              </a:ext>
            </a:extLst>
          </p:cNvPr>
          <p:cNvSpPr/>
          <p:nvPr userDrawn="1"/>
        </p:nvSpPr>
        <p:spPr>
          <a:xfrm>
            <a:off x="1933377" y="4807862"/>
            <a:ext cx="0" cy="88853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60" rIns="22860"/>
          <a:lstStyle/>
          <a:p>
            <a:pPr defTabSz="1218406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30" name="Marcador de texto 7">
            <a:extLst>
              <a:ext uri="{FF2B5EF4-FFF2-40B4-BE49-F238E27FC236}">
                <a16:creationId xmlns:a16="http://schemas.microsoft.com/office/drawing/2014/main" id="{EF047069-CE19-1842-BAD4-C26C6CDE055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9653" y="5015932"/>
            <a:ext cx="1268757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02342014-A163-7C4D-8310-87B690C18D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85022" y="2501440"/>
            <a:ext cx="238270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2" name="Marcador de texto 7">
            <a:extLst>
              <a:ext uri="{FF2B5EF4-FFF2-40B4-BE49-F238E27FC236}">
                <a16:creationId xmlns:a16="http://schemas.microsoft.com/office/drawing/2014/main" id="{89A58E29-5BE1-E74F-82E9-E7C5220EE4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85022" y="3011595"/>
            <a:ext cx="2382703" cy="25675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23" name="Línea">
            <a:extLst>
              <a:ext uri="{FF2B5EF4-FFF2-40B4-BE49-F238E27FC236}">
                <a16:creationId xmlns:a16="http://schemas.microsoft.com/office/drawing/2014/main" id="{CF1F37D8-7FD7-DB46-90C0-999038641338}"/>
              </a:ext>
            </a:extLst>
          </p:cNvPr>
          <p:cNvSpPr/>
          <p:nvPr userDrawn="1"/>
        </p:nvSpPr>
        <p:spPr>
          <a:xfrm>
            <a:off x="8318779" y="2345408"/>
            <a:ext cx="280081" cy="3348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25400" tIns="25400" rIns="25400" bIns="25400" anchor="ctr"/>
          <a:lstStyle/>
          <a:p>
            <a:pPr defTabSz="1218406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24" name="Marcador de texto 7">
            <a:extLst>
              <a:ext uri="{FF2B5EF4-FFF2-40B4-BE49-F238E27FC236}">
                <a16:creationId xmlns:a16="http://schemas.microsoft.com/office/drawing/2014/main" id="{9739E1CB-BE8A-BF40-BD70-3EB390C1D9B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263" y="450851"/>
            <a:ext cx="717073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20</a:t>
            </a:r>
          </a:p>
        </p:txBody>
      </p:sp>
      <p:cxnSp>
        <p:nvCxnSpPr>
          <p:cNvPr id="35" name="Conector recto 34">
            <a:extLst>
              <a:ext uri="{FF2B5EF4-FFF2-40B4-BE49-F238E27FC236}">
                <a16:creationId xmlns:a16="http://schemas.microsoft.com/office/drawing/2014/main" id="{1EEDAF2C-3BB9-5840-BE01-60F79F9B9BC8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7" name="Marcador de texto 7">
            <a:extLst>
              <a:ext uri="{FF2B5EF4-FFF2-40B4-BE49-F238E27FC236}">
                <a16:creationId xmlns:a16="http://schemas.microsoft.com/office/drawing/2014/main" id="{0FD8CCF2-DC32-1D41-B6C5-E45CC648DE8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833693"/>
            <a:ext cx="717073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sp>
        <p:nvSpPr>
          <p:cNvPr id="31" name="Marcador de número de diapositiva 1">
            <a:extLst>
              <a:ext uri="{FF2B5EF4-FFF2-40B4-BE49-F238E27FC236}">
                <a16:creationId xmlns:a16="http://schemas.microsoft.com/office/drawing/2014/main" id="{B5FADFF0-C5A7-6C44-B11D-F86CE0FE0063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22" name="Marcador de texto 4">
            <a:extLst>
              <a:ext uri="{FF2B5EF4-FFF2-40B4-BE49-F238E27FC236}">
                <a16:creationId xmlns:a16="http://schemas.microsoft.com/office/drawing/2014/main" id="{60E0C8B1-ADD8-A447-AB23-23454D3FFBF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7" y="6467632"/>
            <a:ext cx="8376505" cy="371826"/>
          </a:xfrm>
          <a:prstGeom prst="rect">
            <a:avLst/>
          </a:prstGeom>
        </p:spPr>
        <p:txBody>
          <a:bodyPr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cundario fuente Arial 9</a:t>
            </a:r>
          </a:p>
        </p:txBody>
      </p:sp>
    </p:spTree>
    <p:extLst>
      <p:ext uri="{BB962C8B-B14F-4D97-AF65-F5344CB8AC3E}">
        <p14:creationId xmlns:p14="http://schemas.microsoft.com/office/powerpoint/2010/main" val="170289337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1480" userDrawn="1">
          <p15:clr>
            <a:srgbClr val="FBAE40"/>
          </p15:clr>
        </p15:guide>
        <p15:guide id="2" pos="280" userDrawn="1">
          <p15:clr>
            <a:srgbClr val="FBAE40"/>
          </p15:clr>
        </p15:guide>
        <p15:guide id="3" orient="horz" pos="3589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5531200A-67B4-814A-95C6-ABA059808C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16361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5531200A-67B4-814A-95C6-ABA059808C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>
            <a:extLst>
              <a:ext uri="{FF2B5EF4-FFF2-40B4-BE49-F238E27FC236}">
                <a16:creationId xmlns:a16="http://schemas.microsoft.com/office/drawing/2014/main" id="{27BAF180-D9D1-0C4D-852E-CDC458C6A5AD}"/>
              </a:ext>
            </a:extLst>
          </p:cNvPr>
          <p:cNvSpPr/>
          <p:nvPr userDrawn="1"/>
        </p:nvSpPr>
        <p:spPr>
          <a:xfrm>
            <a:off x="9214873" y="2134630"/>
            <a:ext cx="2520000" cy="367085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22" name="Línea">
            <a:extLst>
              <a:ext uri="{FF2B5EF4-FFF2-40B4-BE49-F238E27FC236}">
                <a16:creationId xmlns:a16="http://schemas.microsoft.com/office/drawing/2014/main" id="{92245F91-D7B9-BE4A-83D9-E37F606258CA}"/>
              </a:ext>
            </a:extLst>
          </p:cNvPr>
          <p:cNvSpPr/>
          <p:nvPr userDrawn="1"/>
        </p:nvSpPr>
        <p:spPr>
          <a:xfrm>
            <a:off x="8615926" y="2134630"/>
            <a:ext cx="280081" cy="3672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25400" tIns="25400" rIns="25400" bIns="25400" anchor="ctr"/>
          <a:lstStyle/>
          <a:p>
            <a:pPr defTabSz="1218406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05196" y="2134630"/>
            <a:ext cx="4033335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17301" y="2457416"/>
            <a:ext cx="1279427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4" name="Marcador de posición de imagen 2">
            <a:extLst>
              <a:ext uri="{FF2B5EF4-FFF2-40B4-BE49-F238E27FC236}">
                <a16:creationId xmlns:a16="http://schemas.microsoft.com/office/drawing/2014/main" id="{01391A15-7249-EE4F-A688-E4680B66FA1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6902" y="2134630"/>
            <a:ext cx="1475347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 para incorporar una imagen</a:t>
            </a:r>
          </a:p>
        </p:txBody>
      </p:sp>
      <p:cxnSp>
        <p:nvCxnSpPr>
          <p:cNvPr id="35" name="Conector recto 34">
            <a:extLst>
              <a:ext uri="{FF2B5EF4-FFF2-40B4-BE49-F238E27FC236}">
                <a16:creationId xmlns:a16="http://schemas.microsoft.com/office/drawing/2014/main" id="{CBC1B177-B50F-5E40-B15D-0EC5384F83A6}"/>
              </a:ext>
            </a:extLst>
          </p:cNvPr>
          <p:cNvCxnSpPr>
            <a:cxnSpLocks/>
          </p:cNvCxnSpPr>
          <p:nvPr userDrawn="1"/>
        </p:nvCxnSpPr>
        <p:spPr>
          <a:xfrm>
            <a:off x="3691025" y="2134630"/>
            <a:ext cx="0" cy="108000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7" name="Marcador de texto 7">
            <a:extLst>
              <a:ext uri="{FF2B5EF4-FFF2-40B4-BE49-F238E27FC236}">
                <a16:creationId xmlns:a16="http://schemas.microsoft.com/office/drawing/2014/main" id="{5D64D211-8E0C-C94B-88E7-E1C991DD3E4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05196" y="3429039"/>
            <a:ext cx="4033335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17CE4B52-3BE3-2F44-84B5-ACEA2C0D722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217301" y="3704325"/>
            <a:ext cx="1279427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9" name="Marcador de posición de imagen 2">
            <a:extLst>
              <a:ext uri="{FF2B5EF4-FFF2-40B4-BE49-F238E27FC236}">
                <a16:creationId xmlns:a16="http://schemas.microsoft.com/office/drawing/2014/main" id="{0ECC6833-D921-F248-810B-5EEE0E76CE1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56902" y="3429039"/>
            <a:ext cx="1475347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 para incorporar una imagen</a:t>
            </a:r>
          </a:p>
        </p:txBody>
      </p:sp>
      <p:cxnSp>
        <p:nvCxnSpPr>
          <p:cNvPr id="40" name="Conector recto 39">
            <a:extLst>
              <a:ext uri="{FF2B5EF4-FFF2-40B4-BE49-F238E27FC236}">
                <a16:creationId xmlns:a16="http://schemas.microsoft.com/office/drawing/2014/main" id="{94711B5F-DD02-6648-B446-B9333D6370A5}"/>
              </a:ext>
            </a:extLst>
          </p:cNvPr>
          <p:cNvCxnSpPr>
            <a:cxnSpLocks/>
          </p:cNvCxnSpPr>
          <p:nvPr userDrawn="1"/>
        </p:nvCxnSpPr>
        <p:spPr>
          <a:xfrm>
            <a:off x="3691025" y="3429039"/>
            <a:ext cx="0" cy="108000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05196" y="4722386"/>
            <a:ext cx="4033335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2" name="Marcador de texto 7">
            <a:extLst>
              <a:ext uri="{FF2B5EF4-FFF2-40B4-BE49-F238E27FC236}">
                <a16:creationId xmlns:a16="http://schemas.microsoft.com/office/drawing/2014/main" id="{2A601485-B11B-7B46-9F04-9A94F7E41A4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17301" y="5045172"/>
            <a:ext cx="1279427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3" name="Marcador de posición de imagen 2">
            <a:extLst>
              <a:ext uri="{FF2B5EF4-FFF2-40B4-BE49-F238E27FC236}">
                <a16:creationId xmlns:a16="http://schemas.microsoft.com/office/drawing/2014/main" id="{AEA8A8BB-FA5E-874E-AAB9-F559CF5B08D6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56902" y="4722386"/>
            <a:ext cx="1475347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 para incorporar una imagen</a:t>
            </a:r>
          </a:p>
        </p:txBody>
      </p:sp>
      <p:cxnSp>
        <p:nvCxnSpPr>
          <p:cNvPr id="44" name="Conector recto 43">
            <a:extLst>
              <a:ext uri="{FF2B5EF4-FFF2-40B4-BE49-F238E27FC236}">
                <a16:creationId xmlns:a16="http://schemas.microsoft.com/office/drawing/2014/main" id="{E4F06A31-FE62-FA43-82D4-43BC324386A3}"/>
              </a:ext>
            </a:extLst>
          </p:cNvPr>
          <p:cNvCxnSpPr>
            <a:cxnSpLocks/>
          </p:cNvCxnSpPr>
          <p:nvPr userDrawn="1"/>
        </p:nvCxnSpPr>
        <p:spPr>
          <a:xfrm>
            <a:off x="3691025" y="4722386"/>
            <a:ext cx="0" cy="108000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5" name="Marcador de texto 7">
            <a:extLst>
              <a:ext uri="{FF2B5EF4-FFF2-40B4-BE49-F238E27FC236}">
                <a16:creationId xmlns:a16="http://schemas.microsoft.com/office/drawing/2014/main" id="{86474526-7DF2-164F-B33E-6141E63E9BE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98274" y="2205762"/>
            <a:ext cx="238270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id="{D3D12324-E365-794E-9EF0-965E7CA66F2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98274" y="2733300"/>
            <a:ext cx="2382703" cy="29668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26" name="Marcador de texto 7">
            <a:extLst>
              <a:ext uri="{FF2B5EF4-FFF2-40B4-BE49-F238E27FC236}">
                <a16:creationId xmlns:a16="http://schemas.microsoft.com/office/drawing/2014/main" id="{B06E05AD-5D67-E74F-A7CA-AED62AC56C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263" y="450851"/>
            <a:ext cx="717073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20</a:t>
            </a:r>
          </a:p>
        </p:txBody>
      </p:sp>
      <p:cxnSp>
        <p:nvCxnSpPr>
          <p:cNvPr id="28" name="Conector recto 27">
            <a:extLst>
              <a:ext uri="{FF2B5EF4-FFF2-40B4-BE49-F238E27FC236}">
                <a16:creationId xmlns:a16="http://schemas.microsoft.com/office/drawing/2014/main" id="{38B57DDD-EAB1-DA44-BD2F-DD6D258E6A88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3" name="Marcador de texto 7">
            <a:extLst>
              <a:ext uri="{FF2B5EF4-FFF2-40B4-BE49-F238E27FC236}">
                <a16:creationId xmlns:a16="http://schemas.microsoft.com/office/drawing/2014/main" id="{31011159-CF32-2246-9CD0-112FC1F6A4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833693"/>
            <a:ext cx="717073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sp>
        <p:nvSpPr>
          <p:cNvPr id="27" name="Marcador de número de diapositiva 1">
            <a:extLst>
              <a:ext uri="{FF2B5EF4-FFF2-40B4-BE49-F238E27FC236}">
                <a16:creationId xmlns:a16="http://schemas.microsoft.com/office/drawing/2014/main" id="{7F75FD05-741A-804D-B57C-7FACD50F96E5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25" name="Marcador de texto 4">
            <a:extLst>
              <a:ext uri="{FF2B5EF4-FFF2-40B4-BE49-F238E27FC236}">
                <a16:creationId xmlns:a16="http://schemas.microsoft.com/office/drawing/2014/main" id="{E76C04D3-B791-8A4B-93CE-C192D8CFD66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7" y="6467632"/>
            <a:ext cx="8376505" cy="371826"/>
          </a:xfrm>
          <a:prstGeom prst="rect">
            <a:avLst/>
          </a:prstGeom>
        </p:spPr>
        <p:txBody>
          <a:bodyPr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cundario fuente Arial 9</a:t>
            </a:r>
          </a:p>
        </p:txBody>
      </p:sp>
    </p:spTree>
    <p:extLst>
      <p:ext uri="{BB962C8B-B14F-4D97-AF65-F5344CB8AC3E}">
        <p14:creationId xmlns:p14="http://schemas.microsoft.com/office/powerpoint/2010/main" val="109008726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1344" userDrawn="1">
          <p15:clr>
            <a:srgbClr val="FBAE40"/>
          </p15:clr>
        </p15:guide>
        <p15:guide id="2" pos="28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ategorías y descrip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0B42D332-2844-E942-96BC-37A626E303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72262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0B42D332-2844-E942-96BC-37A626E303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>
            <a:extLst>
              <a:ext uri="{FF2B5EF4-FFF2-40B4-BE49-F238E27FC236}">
                <a16:creationId xmlns:a16="http://schemas.microsoft.com/office/drawing/2014/main" id="{52ED1F8C-1BD3-014F-996B-FFB80867B4C0}"/>
              </a:ext>
            </a:extLst>
          </p:cNvPr>
          <p:cNvSpPr/>
          <p:nvPr userDrawn="1"/>
        </p:nvSpPr>
        <p:spPr>
          <a:xfrm>
            <a:off x="9214872" y="1744734"/>
            <a:ext cx="2520000" cy="432800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cxnSp>
        <p:nvCxnSpPr>
          <p:cNvPr id="108" name="Conector recto 107">
            <a:extLst>
              <a:ext uri="{FF2B5EF4-FFF2-40B4-BE49-F238E27FC236}">
                <a16:creationId xmlns:a16="http://schemas.microsoft.com/office/drawing/2014/main" id="{41C22BEC-E3DB-B444-918C-AC167E7F1462}"/>
              </a:ext>
            </a:extLst>
          </p:cNvPr>
          <p:cNvCxnSpPr>
            <a:cxnSpLocks/>
          </p:cNvCxnSpPr>
          <p:nvPr userDrawn="1"/>
        </p:nvCxnSpPr>
        <p:spPr>
          <a:xfrm>
            <a:off x="457128" y="3116979"/>
            <a:ext cx="8043935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4" name="Marcador de texto 7">
            <a:extLst>
              <a:ext uri="{FF2B5EF4-FFF2-40B4-BE49-F238E27FC236}">
                <a16:creationId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016880" y="2169127"/>
            <a:ext cx="1242719" cy="73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3" name="Marcador de texto 7">
            <a:extLst>
              <a:ext uri="{FF2B5EF4-FFF2-40B4-BE49-F238E27FC236}">
                <a16:creationId xmlns:a16="http://schemas.microsoft.com/office/drawing/2014/main" id="{9381C1C0-80DF-6749-9C03-56994A4072C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389753" y="2169127"/>
            <a:ext cx="6111310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89620A1F-682C-3E4E-85BD-1A4E04D84C0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389752" y="1733847"/>
            <a:ext cx="4087247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55" name="Conector recto 54">
            <a:extLst>
              <a:ext uri="{FF2B5EF4-FFF2-40B4-BE49-F238E27FC236}">
                <a16:creationId xmlns:a16="http://schemas.microsoft.com/office/drawing/2014/main" id="{5880D28B-3A3F-674A-8248-0EF336123F8D}"/>
              </a:ext>
            </a:extLst>
          </p:cNvPr>
          <p:cNvCxnSpPr>
            <a:cxnSpLocks/>
          </p:cNvCxnSpPr>
          <p:nvPr userDrawn="1"/>
        </p:nvCxnSpPr>
        <p:spPr>
          <a:xfrm>
            <a:off x="2389753" y="2042376"/>
            <a:ext cx="6111310" cy="2948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1" name="Marcador de texto 7">
            <a:extLst>
              <a:ext uri="{FF2B5EF4-FFF2-40B4-BE49-F238E27FC236}">
                <a16:creationId xmlns:a16="http://schemas.microsoft.com/office/drawing/2014/main" id="{60D2818D-89F2-5146-96F4-FE5CC94A3B64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49263" y="2169127"/>
            <a:ext cx="468000" cy="39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cxnSp>
        <p:nvCxnSpPr>
          <p:cNvPr id="70" name="Conector recto 69">
            <a:extLst>
              <a:ext uri="{FF2B5EF4-FFF2-40B4-BE49-F238E27FC236}">
                <a16:creationId xmlns:a16="http://schemas.microsoft.com/office/drawing/2014/main" id="{4F3DCFE7-4201-D24B-8EB4-FA55068862F1}"/>
              </a:ext>
            </a:extLst>
          </p:cNvPr>
          <p:cNvCxnSpPr>
            <a:cxnSpLocks/>
          </p:cNvCxnSpPr>
          <p:nvPr userDrawn="1"/>
        </p:nvCxnSpPr>
        <p:spPr>
          <a:xfrm>
            <a:off x="457128" y="4688604"/>
            <a:ext cx="8043935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2" name="Marcador de texto 7">
            <a:extLst>
              <a:ext uri="{FF2B5EF4-FFF2-40B4-BE49-F238E27FC236}">
                <a16:creationId xmlns:a16="http://schemas.microsoft.com/office/drawing/2014/main" id="{2DFAEEC3-0D14-C64D-8AC4-8560CCC11D5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16880" y="3740751"/>
            <a:ext cx="1242719" cy="73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7BB34F7A-9153-7E41-8706-B75E12C61FA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389753" y="3740751"/>
            <a:ext cx="6111310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id="{D350E885-470E-4544-9B96-6265ACDD38B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389752" y="3305472"/>
            <a:ext cx="4087247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75" name="Conector recto 74">
            <a:extLst>
              <a:ext uri="{FF2B5EF4-FFF2-40B4-BE49-F238E27FC236}">
                <a16:creationId xmlns:a16="http://schemas.microsoft.com/office/drawing/2014/main" id="{0DA84D03-C754-C246-AC09-A3CAE3A0D217}"/>
              </a:ext>
            </a:extLst>
          </p:cNvPr>
          <p:cNvCxnSpPr>
            <a:cxnSpLocks/>
          </p:cNvCxnSpPr>
          <p:nvPr userDrawn="1"/>
        </p:nvCxnSpPr>
        <p:spPr>
          <a:xfrm>
            <a:off x="2389753" y="3614001"/>
            <a:ext cx="6111310" cy="2948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9" name="Marcador de texto 7">
            <a:extLst>
              <a:ext uri="{FF2B5EF4-FFF2-40B4-BE49-F238E27FC236}">
                <a16:creationId xmlns:a16="http://schemas.microsoft.com/office/drawing/2014/main" id="{5F033970-6C8B-0E48-A2EF-5615634E1F3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49263" y="3740751"/>
            <a:ext cx="468000" cy="39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81" name="Marcador de texto 7">
            <a:extLst>
              <a:ext uri="{FF2B5EF4-FFF2-40B4-BE49-F238E27FC236}">
                <a16:creationId xmlns:a16="http://schemas.microsoft.com/office/drawing/2014/main" id="{D63CF391-BF7F-E946-8EBB-B83AE538B4E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016880" y="5313411"/>
            <a:ext cx="1242719" cy="73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82" name="Marcador de texto 7">
            <a:extLst>
              <a:ext uri="{FF2B5EF4-FFF2-40B4-BE49-F238E27FC236}">
                <a16:creationId xmlns:a16="http://schemas.microsoft.com/office/drawing/2014/main" id="{B22EF754-D625-F14C-8B51-B265491331F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389753" y="5313411"/>
            <a:ext cx="6111310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83" name="Marcador de texto 7">
            <a:extLst>
              <a:ext uri="{FF2B5EF4-FFF2-40B4-BE49-F238E27FC236}">
                <a16:creationId xmlns:a16="http://schemas.microsoft.com/office/drawing/2014/main" id="{977B32BB-9DE9-AE4E-B3F6-BC2F0A206886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389752" y="4878132"/>
            <a:ext cx="4087247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84" name="Conector recto 83">
            <a:extLst>
              <a:ext uri="{FF2B5EF4-FFF2-40B4-BE49-F238E27FC236}">
                <a16:creationId xmlns:a16="http://schemas.microsoft.com/office/drawing/2014/main" id="{075E9141-63D8-A545-AC28-243D934CB544}"/>
              </a:ext>
            </a:extLst>
          </p:cNvPr>
          <p:cNvCxnSpPr>
            <a:cxnSpLocks/>
          </p:cNvCxnSpPr>
          <p:nvPr userDrawn="1"/>
        </p:nvCxnSpPr>
        <p:spPr>
          <a:xfrm>
            <a:off x="2389753" y="5186661"/>
            <a:ext cx="6111310" cy="2948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8" name="Marcador de texto 7">
            <a:extLst>
              <a:ext uri="{FF2B5EF4-FFF2-40B4-BE49-F238E27FC236}">
                <a16:creationId xmlns:a16="http://schemas.microsoft.com/office/drawing/2014/main" id="{B99DB37B-609E-1B46-AF58-881DFC2469EA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49263" y="5313411"/>
            <a:ext cx="468000" cy="39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7" name="Marcador de texto 7">
            <a:extLst>
              <a:ext uri="{FF2B5EF4-FFF2-40B4-BE49-F238E27FC236}">
                <a16:creationId xmlns:a16="http://schemas.microsoft.com/office/drawing/2014/main" id="{8668C0C2-6225-9D4F-ABD5-08A2EAB967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98274" y="1932630"/>
            <a:ext cx="238270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FE6A9022-71A7-0D4D-94F7-2B454E9F5A1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98274" y="2507669"/>
            <a:ext cx="2382703" cy="34537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31" name="Línea">
            <a:extLst>
              <a:ext uri="{FF2B5EF4-FFF2-40B4-BE49-F238E27FC236}">
                <a16:creationId xmlns:a16="http://schemas.microsoft.com/office/drawing/2014/main" id="{E4A7219B-443C-494D-9076-3FC55AAAD0AF}"/>
              </a:ext>
            </a:extLst>
          </p:cNvPr>
          <p:cNvSpPr/>
          <p:nvPr userDrawn="1"/>
        </p:nvSpPr>
        <p:spPr>
          <a:xfrm>
            <a:off x="8734790" y="1744734"/>
            <a:ext cx="280081" cy="43221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25400" tIns="25400" rIns="25400" bIns="25400" anchor="ctr"/>
          <a:lstStyle/>
          <a:p>
            <a:pPr defTabSz="1218406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35" name="Marcador de texto 7">
            <a:extLst>
              <a:ext uri="{FF2B5EF4-FFF2-40B4-BE49-F238E27FC236}">
                <a16:creationId xmlns:a16="http://schemas.microsoft.com/office/drawing/2014/main" id="{90021092-5A55-D142-B53C-75F1CAED1B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263" y="450851"/>
            <a:ext cx="717073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20</a:t>
            </a:r>
          </a:p>
        </p:txBody>
      </p:sp>
      <p:cxnSp>
        <p:nvCxnSpPr>
          <p:cNvPr id="40" name="Conector recto 39">
            <a:extLst>
              <a:ext uri="{FF2B5EF4-FFF2-40B4-BE49-F238E27FC236}">
                <a16:creationId xmlns:a16="http://schemas.microsoft.com/office/drawing/2014/main" id="{86E86363-FC33-F547-93FA-7F958D055AD2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87ABB9E2-430C-EA45-84E4-5F473C56A4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833693"/>
            <a:ext cx="717073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sp>
        <p:nvSpPr>
          <p:cNvPr id="32" name="Marcador de número de diapositiva 1">
            <a:extLst>
              <a:ext uri="{FF2B5EF4-FFF2-40B4-BE49-F238E27FC236}">
                <a16:creationId xmlns:a16="http://schemas.microsoft.com/office/drawing/2014/main" id="{F52DF2DF-D41E-4045-821A-45609E7A60D8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30" name="Marcador de texto 4">
            <a:extLst>
              <a:ext uri="{FF2B5EF4-FFF2-40B4-BE49-F238E27FC236}">
                <a16:creationId xmlns:a16="http://schemas.microsoft.com/office/drawing/2014/main" id="{62329C95-7E05-4D4F-956B-E2DB7360F6E7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448887" y="6467632"/>
            <a:ext cx="8376505" cy="371826"/>
          </a:xfrm>
          <a:prstGeom prst="rect">
            <a:avLst/>
          </a:prstGeom>
        </p:spPr>
        <p:txBody>
          <a:bodyPr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cundario fuente Arial 9</a:t>
            </a:r>
          </a:p>
        </p:txBody>
      </p:sp>
    </p:spTree>
    <p:extLst>
      <p:ext uri="{BB962C8B-B14F-4D97-AF65-F5344CB8AC3E}">
        <p14:creationId xmlns:p14="http://schemas.microsoft.com/office/powerpoint/2010/main" val="135654239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280" userDrawn="1">
          <p15:clr>
            <a:srgbClr val="FBAE40"/>
          </p15:clr>
        </p15:guide>
        <p15:guide id="3" orient="horz" pos="1094" userDrawn="1">
          <p15:clr>
            <a:srgbClr val="FBAE40"/>
          </p15:clr>
        </p15:guide>
        <p15:guide id="4" orient="horz" pos="2546" userDrawn="1">
          <p15:clr>
            <a:srgbClr val="FBAE40"/>
          </p15:clr>
        </p15:guide>
        <p15:guide id="5" orient="horz" pos="3816" userDrawn="1">
          <p15:clr>
            <a:srgbClr val="FBAE40"/>
          </p15:clr>
        </p15:guide>
        <p15:guide id="6" pos="1504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ortada con f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magen que contiene fábrica, exterior, moto acuática, edificio&#10;&#10;Descripción generada automáticamente">
            <a:extLst>
              <a:ext uri="{FF2B5EF4-FFF2-40B4-BE49-F238E27FC236}">
                <a16:creationId xmlns:a16="http://schemas.microsoft.com/office/drawing/2014/main" id="{524F57FB-FFCF-3249-91AB-3A11BFDD26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8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19" r="5852"/>
          <a:stretch/>
        </p:blipFill>
        <p:spPr>
          <a:xfrm>
            <a:off x="0" y="0"/>
            <a:ext cx="10452100" cy="6858000"/>
          </a:xfrm>
          <a:prstGeom prst="rect">
            <a:avLst/>
          </a:prstGeom>
        </p:spPr>
      </p:pic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25505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:a16="http://schemas.microsoft.com/office/drawing/2014/main" id="{FF98E1B1-3B0B-3241-93AC-BE8D1054EBCA}"/>
              </a:ext>
            </a:extLst>
          </p:cNvPr>
          <p:cNvSpPr txBox="1"/>
          <p:nvPr userDrawn="1"/>
        </p:nvSpPr>
        <p:spPr>
          <a:xfrm>
            <a:off x="10918982" y="6130615"/>
            <a:ext cx="943790" cy="5498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200" dirty="0" err="1">
                <a:solidFill>
                  <a:srgbClr val="106737"/>
                </a:solidFill>
              </a:rPr>
              <a:t>Asociación</a:t>
            </a:r>
            <a:r>
              <a:rPr sz="1200" dirty="0">
                <a:solidFill>
                  <a:srgbClr val="106737"/>
                </a:solidFill>
              </a:rPr>
              <a:t> </a:t>
            </a:r>
            <a:r>
              <a:rPr sz="1200" dirty="0" err="1">
                <a:solidFill>
                  <a:srgbClr val="106737"/>
                </a:solidFill>
              </a:rPr>
              <a:t>Chilena</a:t>
            </a:r>
            <a:r>
              <a:rPr sz="1200" dirty="0">
                <a:solidFill>
                  <a:srgbClr val="106737"/>
                </a:solidFill>
              </a:rPr>
              <a:t> de </a:t>
            </a:r>
            <a:r>
              <a:rPr sz="1200" dirty="0" err="1">
                <a:solidFill>
                  <a:srgbClr val="106737"/>
                </a:solidFill>
              </a:rPr>
              <a:t>Seguridad</a:t>
            </a:r>
            <a:endParaRPr sz="1200" dirty="0">
              <a:solidFill>
                <a:srgbClr val="106737"/>
              </a:solidFill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16A13A-EE62-714D-B8F2-66374C530E6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938646" y="452438"/>
            <a:ext cx="796227" cy="796227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27" y="6461125"/>
            <a:ext cx="1039662" cy="3968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>
                <a:solidFill>
                  <a:srgbClr val="106737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7F873C59-711E-8745-86F5-FFE4AD3A688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7128" y="1248665"/>
            <a:ext cx="4891050" cy="130036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  <a:highlight>
                  <a:srgbClr val="106737"/>
                </a:highlight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Arial Bold - 3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7695957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 userDrawn="1">
          <p15:clr>
            <a:srgbClr val="FBAE40"/>
          </p15:clr>
        </p15:guide>
        <p15:guide id="3" pos="6726" userDrawn="1">
          <p15:clr>
            <a:srgbClr val="FBAE40"/>
          </p15:clr>
        </p15:guide>
        <p15:guide id="4" orient="horz" pos="4168" userDrawn="1">
          <p15:clr>
            <a:srgbClr val="FBAE40"/>
          </p15:clr>
        </p15:guide>
        <p15:guide id="5" orient="horz" pos="787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 categorías y descripciones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30211" y="2074603"/>
            <a:ext cx="4700706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6" name="Rectángulo">
            <a:extLst>
              <a:ext uri="{FF2B5EF4-FFF2-40B4-BE49-F238E27FC236}">
                <a16:creationId xmlns:a16="http://schemas.microsoft.com/office/drawing/2014/main" id="{6702EB9E-A1FA-954C-A832-0A7EDF090520}"/>
              </a:ext>
            </a:extLst>
          </p:cNvPr>
          <p:cNvSpPr/>
          <p:nvPr userDrawn="1"/>
        </p:nvSpPr>
        <p:spPr>
          <a:xfrm>
            <a:off x="449263" y="2074604"/>
            <a:ext cx="1512816" cy="528415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sp>
        <p:nvSpPr>
          <p:cNvPr id="60" name="Flecha">
            <a:extLst>
              <a:ext uri="{FF2B5EF4-FFF2-40B4-BE49-F238E27FC236}">
                <a16:creationId xmlns:a16="http://schemas.microsoft.com/office/drawing/2014/main" id="{E6B1C39A-FDE2-BC40-B223-3FEEA317B028}"/>
              </a:ext>
            </a:extLst>
          </p:cNvPr>
          <p:cNvSpPr/>
          <p:nvPr userDrawn="1"/>
        </p:nvSpPr>
        <p:spPr>
          <a:xfrm>
            <a:off x="2229912" y="2074604"/>
            <a:ext cx="1820446" cy="528415"/>
          </a:xfrm>
          <a:prstGeom prst="rightArrow">
            <a:avLst>
              <a:gd name="adj1" fmla="val 97321"/>
              <a:gd name="adj2" fmla="val 24371"/>
            </a:avLst>
          </a:prstGeom>
          <a:solidFill>
            <a:schemeClr val="tx1"/>
          </a:solidFill>
          <a:ln w="12700">
            <a:miter lim="400000"/>
          </a:ln>
        </p:spPr>
        <p:txBody>
          <a:bodyPr lIns="0" tIns="0" rIns="0" bIns="0"/>
          <a:lstStyle/>
          <a:p>
            <a:pPr algn="ctr" defTabSz="228600">
              <a:defRPr sz="2400">
                <a:solidFill>
                  <a:srgbClr val="595959"/>
                </a:solidFill>
                <a:latin typeface="Barlow Regular"/>
                <a:ea typeface="Barlow Regular"/>
                <a:cs typeface="Barlow Regular"/>
                <a:sym typeface="Barlow Regular"/>
              </a:defRPr>
            </a:pPr>
            <a:endParaRPr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Marcador de texto 7">
            <a:extLst>
              <a:ext uri="{FF2B5EF4-FFF2-40B4-BE49-F238E27FC236}">
                <a16:creationId xmlns:a16="http://schemas.microsoft.com/office/drawing/2014/main" id="{D011EE18-427A-614E-A45B-317571E7FB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29911" y="1635136"/>
            <a:ext cx="2037287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E707E9D6-1E74-A645-A036-DEA93AAF701B}"/>
              </a:ext>
            </a:extLst>
          </p:cNvPr>
          <p:cNvCxnSpPr>
            <a:cxnSpLocks/>
          </p:cNvCxnSpPr>
          <p:nvPr userDrawn="1"/>
        </p:nvCxnSpPr>
        <p:spPr>
          <a:xfrm>
            <a:off x="2229912" y="1932778"/>
            <a:ext cx="2037600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3" name="Marcador de texto 7">
            <a:extLst>
              <a:ext uri="{FF2B5EF4-FFF2-40B4-BE49-F238E27FC236}">
                <a16:creationId xmlns:a16="http://schemas.microsoft.com/office/drawing/2014/main" id="{DFCEB778-9AFC-7B4A-9AA5-3D853AD0788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30212" y="1635136"/>
            <a:ext cx="3045856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64" name="Conector recto 63">
            <a:extLst>
              <a:ext uri="{FF2B5EF4-FFF2-40B4-BE49-F238E27FC236}">
                <a16:creationId xmlns:a16="http://schemas.microsoft.com/office/drawing/2014/main" id="{516A11E3-D171-8641-AA4E-29E854F66822}"/>
              </a:ext>
            </a:extLst>
          </p:cNvPr>
          <p:cNvCxnSpPr>
            <a:cxnSpLocks/>
          </p:cNvCxnSpPr>
          <p:nvPr userDrawn="1"/>
        </p:nvCxnSpPr>
        <p:spPr>
          <a:xfrm>
            <a:off x="4430211" y="1932778"/>
            <a:ext cx="4700706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5" name="Marcador de texto 7">
            <a:extLst>
              <a:ext uri="{FF2B5EF4-FFF2-40B4-BE49-F238E27FC236}">
                <a16:creationId xmlns:a16="http://schemas.microsoft.com/office/drawing/2014/main" id="{D5CE23AB-F9F3-1C45-A483-0BE13E6B14A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382166" y="2074603"/>
            <a:ext cx="2354635" cy="737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66" name="Marcador de texto 7">
            <a:extLst>
              <a:ext uri="{FF2B5EF4-FFF2-40B4-BE49-F238E27FC236}">
                <a16:creationId xmlns:a16="http://schemas.microsoft.com/office/drawing/2014/main" id="{8B692A92-E8A9-7C47-AD18-4649F0D2100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382166" y="1635136"/>
            <a:ext cx="2326649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67" name="Conector recto 66">
            <a:extLst>
              <a:ext uri="{FF2B5EF4-FFF2-40B4-BE49-F238E27FC236}">
                <a16:creationId xmlns:a16="http://schemas.microsoft.com/office/drawing/2014/main" id="{4F85BE26-F0D1-724D-91CA-79E04ECAC02F}"/>
              </a:ext>
            </a:extLst>
          </p:cNvPr>
          <p:cNvCxnSpPr>
            <a:cxnSpLocks/>
          </p:cNvCxnSpPr>
          <p:nvPr userDrawn="1"/>
        </p:nvCxnSpPr>
        <p:spPr>
          <a:xfrm>
            <a:off x="9382166" y="1932778"/>
            <a:ext cx="2354635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9" name="Marcador de texto 7">
            <a:extLst>
              <a:ext uri="{FF2B5EF4-FFF2-40B4-BE49-F238E27FC236}">
                <a16:creationId xmlns:a16="http://schemas.microsoft.com/office/drawing/2014/main" id="{661B3AB6-9A76-2B4A-8C31-709E7AD6C6A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97147" y="2098915"/>
            <a:ext cx="1602168" cy="4702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71" name="Marcador de texto 7">
            <a:extLst>
              <a:ext uri="{FF2B5EF4-FFF2-40B4-BE49-F238E27FC236}">
                <a16:creationId xmlns:a16="http://schemas.microsoft.com/office/drawing/2014/main" id="{6DF521A9-C541-1D4C-879C-AB754287F02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9109" y="2098915"/>
            <a:ext cx="1308004" cy="4702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98" name="Marcador de texto 7">
            <a:extLst>
              <a:ext uri="{FF2B5EF4-FFF2-40B4-BE49-F238E27FC236}">
                <a16:creationId xmlns:a16="http://schemas.microsoft.com/office/drawing/2014/main" id="{2B2B38A7-1E90-DD47-A64D-948E5F2F8B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30211" y="3688250"/>
            <a:ext cx="4700706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99" name="Rectángulo">
            <a:extLst>
              <a:ext uri="{FF2B5EF4-FFF2-40B4-BE49-F238E27FC236}">
                <a16:creationId xmlns:a16="http://schemas.microsoft.com/office/drawing/2014/main" id="{FD1CB431-1820-2345-98EC-38025759AF2F}"/>
              </a:ext>
            </a:extLst>
          </p:cNvPr>
          <p:cNvSpPr/>
          <p:nvPr userDrawn="1"/>
        </p:nvSpPr>
        <p:spPr>
          <a:xfrm>
            <a:off x="449263" y="3688251"/>
            <a:ext cx="1512816" cy="528415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sp>
        <p:nvSpPr>
          <p:cNvPr id="100" name="Flecha">
            <a:extLst>
              <a:ext uri="{FF2B5EF4-FFF2-40B4-BE49-F238E27FC236}">
                <a16:creationId xmlns:a16="http://schemas.microsoft.com/office/drawing/2014/main" id="{51D30188-BA2F-E041-9E44-E9C991347A3B}"/>
              </a:ext>
            </a:extLst>
          </p:cNvPr>
          <p:cNvSpPr/>
          <p:nvPr userDrawn="1"/>
        </p:nvSpPr>
        <p:spPr>
          <a:xfrm>
            <a:off x="2229912" y="3688251"/>
            <a:ext cx="1820446" cy="528415"/>
          </a:xfrm>
          <a:prstGeom prst="rightArrow">
            <a:avLst>
              <a:gd name="adj1" fmla="val 97321"/>
              <a:gd name="adj2" fmla="val 24371"/>
            </a:avLst>
          </a:prstGeom>
          <a:solidFill>
            <a:schemeClr val="tx1"/>
          </a:solidFill>
          <a:ln w="12700">
            <a:miter lim="400000"/>
          </a:ln>
        </p:spPr>
        <p:txBody>
          <a:bodyPr lIns="0" tIns="0" rIns="0" bIns="0"/>
          <a:lstStyle/>
          <a:p>
            <a:pPr algn="ctr" defTabSz="228600">
              <a:defRPr sz="2400">
                <a:solidFill>
                  <a:srgbClr val="595959"/>
                </a:solidFill>
                <a:latin typeface="Barlow Regular"/>
                <a:ea typeface="Barlow Regular"/>
                <a:cs typeface="Barlow Regular"/>
                <a:sym typeface="Barlow Regular"/>
              </a:defRPr>
            </a:pPr>
            <a:endParaRPr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id="{BE0B497D-B44F-C24C-8E29-BD07AF0EDD0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229911" y="3248783"/>
            <a:ext cx="2037287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:a16="http://schemas.microsoft.com/office/drawing/2014/main" id="{FA62AC02-A4CB-9E42-9966-0638ADE12337}"/>
              </a:ext>
            </a:extLst>
          </p:cNvPr>
          <p:cNvCxnSpPr>
            <a:cxnSpLocks/>
          </p:cNvCxnSpPr>
          <p:nvPr userDrawn="1"/>
        </p:nvCxnSpPr>
        <p:spPr>
          <a:xfrm>
            <a:off x="2229912" y="3546425"/>
            <a:ext cx="2037286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3" name="Marcador de texto 7">
            <a:extLst>
              <a:ext uri="{FF2B5EF4-FFF2-40B4-BE49-F238E27FC236}">
                <a16:creationId xmlns:a16="http://schemas.microsoft.com/office/drawing/2014/main" id="{1BD4B4BB-F73A-8C47-9D90-CEC7DD3B41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30212" y="3248783"/>
            <a:ext cx="3045856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4" name="Conector recto 103">
            <a:extLst>
              <a:ext uri="{FF2B5EF4-FFF2-40B4-BE49-F238E27FC236}">
                <a16:creationId xmlns:a16="http://schemas.microsoft.com/office/drawing/2014/main" id="{0C6E77F8-65E8-494D-8105-C0A16B41DC03}"/>
              </a:ext>
            </a:extLst>
          </p:cNvPr>
          <p:cNvCxnSpPr>
            <a:cxnSpLocks/>
          </p:cNvCxnSpPr>
          <p:nvPr userDrawn="1"/>
        </p:nvCxnSpPr>
        <p:spPr>
          <a:xfrm>
            <a:off x="4430211" y="3546425"/>
            <a:ext cx="4700706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5" name="Marcador de texto 7">
            <a:extLst>
              <a:ext uri="{FF2B5EF4-FFF2-40B4-BE49-F238E27FC236}">
                <a16:creationId xmlns:a16="http://schemas.microsoft.com/office/drawing/2014/main" id="{15E1D5D8-969C-0C47-A83E-5B4A68DB30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382166" y="3688250"/>
            <a:ext cx="2354635" cy="737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id="{5DC833E3-6DB7-4D44-8269-BEE4CDA6C7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382166" y="3248783"/>
            <a:ext cx="2326649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7" name="Conector recto 106">
            <a:extLst>
              <a:ext uri="{FF2B5EF4-FFF2-40B4-BE49-F238E27FC236}">
                <a16:creationId xmlns:a16="http://schemas.microsoft.com/office/drawing/2014/main" id="{3DD43F7B-D2ED-9042-8179-8A0FE56FD61C}"/>
              </a:ext>
            </a:extLst>
          </p:cNvPr>
          <p:cNvCxnSpPr>
            <a:cxnSpLocks/>
          </p:cNvCxnSpPr>
          <p:nvPr userDrawn="1"/>
        </p:nvCxnSpPr>
        <p:spPr>
          <a:xfrm>
            <a:off x="9382166" y="3546425"/>
            <a:ext cx="2354635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9" name="Marcador de texto 7">
            <a:extLst>
              <a:ext uri="{FF2B5EF4-FFF2-40B4-BE49-F238E27FC236}">
                <a16:creationId xmlns:a16="http://schemas.microsoft.com/office/drawing/2014/main" id="{B64B1C12-DD64-304A-8558-8A688B33972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297147" y="3712562"/>
            <a:ext cx="1602168" cy="44483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10" name="Marcador de texto 7">
            <a:extLst>
              <a:ext uri="{FF2B5EF4-FFF2-40B4-BE49-F238E27FC236}">
                <a16:creationId xmlns:a16="http://schemas.microsoft.com/office/drawing/2014/main" id="{D674B401-78C8-414C-A501-6F69894D59F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29109" y="3712562"/>
            <a:ext cx="1308004" cy="4702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11" name="Marcador de texto 7">
            <a:extLst>
              <a:ext uri="{FF2B5EF4-FFF2-40B4-BE49-F238E27FC236}">
                <a16:creationId xmlns:a16="http://schemas.microsoft.com/office/drawing/2014/main" id="{61CDEF0A-D72C-2648-9BF7-D2A388DD586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0211" y="5452834"/>
            <a:ext cx="4700706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12" name="Rectángulo">
            <a:extLst>
              <a:ext uri="{FF2B5EF4-FFF2-40B4-BE49-F238E27FC236}">
                <a16:creationId xmlns:a16="http://schemas.microsoft.com/office/drawing/2014/main" id="{82768CE9-E1C4-3D4C-81F7-4374324630CD}"/>
              </a:ext>
            </a:extLst>
          </p:cNvPr>
          <p:cNvSpPr/>
          <p:nvPr userDrawn="1"/>
        </p:nvSpPr>
        <p:spPr>
          <a:xfrm>
            <a:off x="449263" y="5452835"/>
            <a:ext cx="1512816" cy="528415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sp>
        <p:nvSpPr>
          <p:cNvPr id="113" name="Flecha">
            <a:extLst>
              <a:ext uri="{FF2B5EF4-FFF2-40B4-BE49-F238E27FC236}">
                <a16:creationId xmlns:a16="http://schemas.microsoft.com/office/drawing/2014/main" id="{11B2D5B3-C3A5-5A46-B783-E9DB7956E3FC}"/>
              </a:ext>
            </a:extLst>
          </p:cNvPr>
          <p:cNvSpPr/>
          <p:nvPr userDrawn="1"/>
        </p:nvSpPr>
        <p:spPr>
          <a:xfrm>
            <a:off x="2229912" y="5452835"/>
            <a:ext cx="1820446" cy="528415"/>
          </a:xfrm>
          <a:prstGeom prst="rightArrow">
            <a:avLst>
              <a:gd name="adj1" fmla="val 97321"/>
              <a:gd name="adj2" fmla="val 24371"/>
            </a:avLst>
          </a:prstGeom>
          <a:solidFill>
            <a:schemeClr val="tx1"/>
          </a:solidFill>
          <a:ln w="12700">
            <a:miter lim="400000"/>
          </a:ln>
        </p:spPr>
        <p:txBody>
          <a:bodyPr lIns="0" tIns="0" rIns="0" bIns="0"/>
          <a:lstStyle/>
          <a:p>
            <a:pPr algn="ctr" defTabSz="228600">
              <a:defRPr sz="2400">
                <a:solidFill>
                  <a:srgbClr val="595959"/>
                </a:solidFill>
                <a:latin typeface="Barlow Regular"/>
                <a:ea typeface="Barlow Regular"/>
                <a:cs typeface="Barlow Regular"/>
                <a:sym typeface="Barlow Regular"/>
              </a:defRPr>
            </a:pPr>
            <a:endParaRPr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Marcador de texto 7">
            <a:extLst>
              <a:ext uri="{FF2B5EF4-FFF2-40B4-BE49-F238E27FC236}">
                <a16:creationId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229911" y="5013367"/>
            <a:ext cx="2037287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15" name="Conector recto 114">
            <a:extLst>
              <a:ext uri="{FF2B5EF4-FFF2-40B4-BE49-F238E27FC236}">
                <a16:creationId xmlns:a16="http://schemas.microsoft.com/office/drawing/2014/main" id="{0312E910-2788-3D48-B437-F32CE1E92226}"/>
              </a:ext>
            </a:extLst>
          </p:cNvPr>
          <p:cNvCxnSpPr>
            <a:cxnSpLocks/>
          </p:cNvCxnSpPr>
          <p:nvPr userDrawn="1"/>
        </p:nvCxnSpPr>
        <p:spPr>
          <a:xfrm>
            <a:off x="2229912" y="5311009"/>
            <a:ext cx="2037600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6" name="Marcador de texto 7">
            <a:extLst>
              <a:ext uri="{FF2B5EF4-FFF2-40B4-BE49-F238E27FC236}">
                <a16:creationId xmlns:a16="http://schemas.microsoft.com/office/drawing/2014/main" id="{F003F3C9-833A-0E40-989F-A1E89E66731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456269" y="5013367"/>
            <a:ext cx="3045856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17" name="Conector recto 116">
            <a:extLst>
              <a:ext uri="{FF2B5EF4-FFF2-40B4-BE49-F238E27FC236}">
                <a16:creationId xmlns:a16="http://schemas.microsoft.com/office/drawing/2014/main" id="{D297A162-44E6-444F-B15F-B309FAC6EC0E}"/>
              </a:ext>
            </a:extLst>
          </p:cNvPr>
          <p:cNvCxnSpPr>
            <a:cxnSpLocks/>
          </p:cNvCxnSpPr>
          <p:nvPr userDrawn="1"/>
        </p:nvCxnSpPr>
        <p:spPr>
          <a:xfrm>
            <a:off x="4444394" y="5311009"/>
            <a:ext cx="4700706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8" name="Marcador de texto 7">
            <a:extLst>
              <a:ext uri="{FF2B5EF4-FFF2-40B4-BE49-F238E27FC236}">
                <a16:creationId xmlns:a16="http://schemas.microsoft.com/office/drawing/2014/main" id="{B40D342A-9934-D247-8506-3C04BA2012C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382166" y="5452834"/>
            <a:ext cx="2354400" cy="737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19" name="Marcador de texto 7">
            <a:extLst>
              <a:ext uri="{FF2B5EF4-FFF2-40B4-BE49-F238E27FC236}">
                <a16:creationId xmlns:a16="http://schemas.microsoft.com/office/drawing/2014/main" id="{DDA9AE97-84A3-694E-9294-BAFBA6FBC7E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408224" y="5013367"/>
            <a:ext cx="2326649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20" name="Conector recto 119">
            <a:extLst>
              <a:ext uri="{FF2B5EF4-FFF2-40B4-BE49-F238E27FC236}">
                <a16:creationId xmlns:a16="http://schemas.microsoft.com/office/drawing/2014/main" id="{52E5032A-A04E-AF48-A2B4-4FCA1E59EB6C}"/>
              </a:ext>
            </a:extLst>
          </p:cNvPr>
          <p:cNvCxnSpPr>
            <a:cxnSpLocks/>
          </p:cNvCxnSpPr>
          <p:nvPr userDrawn="1"/>
        </p:nvCxnSpPr>
        <p:spPr>
          <a:xfrm>
            <a:off x="9408224" y="5311009"/>
            <a:ext cx="2354635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2" name="Marcador de texto 7">
            <a:extLst>
              <a:ext uri="{FF2B5EF4-FFF2-40B4-BE49-F238E27FC236}">
                <a16:creationId xmlns:a16="http://schemas.microsoft.com/office/drawing/2014/main" id="{EE07E9DC-AD79-9F43-9AA5-4C2F72B701E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297147" y="5477146"/>
            <a:ext cx="1602168" cy="4702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3" name="Marcador de texto 7">
            <a:extLst>
              <a:ext uri="{FF2B5EF4-FFF2-40B4-BE49-F238E27FC236}">
                <a16:creationId xmlns:a16="http://schemas.microsoft.com/office/drawing/2014/main" id="{9E332173-B33D-EE42-B963-112D06843FB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29109" y="5477146"/>
            <a:ext cx="1308004" cy="4702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5" name="Marcador de texto 7">
            <a:extLst>
              <a:ext uri="{FF2B5EF4-FFF2-40B4-BE49-F238E27FC236}">
                <a16:creationId xmlns:a16="http://schemas.microsoft.com/office/drawing/2014/main" id="{941FD6F5-0E21-BE43-9581-8AE036A32D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263" y="450851"/>
            <a:ext cx="717073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20</a:t>
            </a:r>
          </a:p>
        </p:txBody>
      </p:sp>
      <p:cxnSp>
        <p:nvCxnSpPr>
          <p:cNvPr id="49" name="Conector recto 48">
            <a:extLst>
              <a:ext uri="{FF2B5EF4-FFF2-40B4-BE49-F238E27FC236}">
                <a16:creationId xmlns:a16="http://schemas.microsoft.com/office/drawing/2014/main" id="{1C29EAB7-7D4B-A84C-89B8-1D05BBDB7530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0" name="Marcador de texto 7">
            <a:extLst>
              <a:ext uri="{FF2B5EF4-FFF2-40B4-BE49-F238E27FC236}">
                <a16:creationId xmlns:a16="http://schemas.microsoft.com/office/drawing/2014/main" id="{D38A4427-9308-5647-9E01-473CA18992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833693"/>
            <a:ext cx="717073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sp>
        <p:nvSpPr>
          <p:cNvPr id="48" name="Marcador de número de diapositiva 1">
            <a:extLst>
              <a:ext uri="{FF2B5EF4-FFF2-40B4-BE49-F238E27FC236}">
                <a16:creationId xmlns:a16="http://schemas.microsoft.com/office/drawing/2014/main" id="{4D3AD217-54D1-EB46-9D9E-E3862C7770C2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44" name="Marcador de texto 4">
            <a:extLst>
              <a:ext uri="{FF2B5EF4-FFF2-40B4-BE49-F238E27FC236}">
                <a16:creationId xmlns:a16="http://schemas.microsoft.com/office/drawing/2014/main" id="{FE4010C5-BE7E-E340-A972-AC5AEA11BD4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7" y="6467632"/>
            <a:ext cx="8376505" cy="371826"/>
          </a:xfrm>
          <a:prstGeom prst="rect">
            <a:avLst/>
          </a:prstGeom>
        </p:spPr>
        <p:txBody>
          <a:bodyPr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cundario fuente Arial 9</a:t>
            </a:r>
          </a:p>
        </p:txBody>
      </p:sp>
    </p:spTree>
    <p:extLst>
      <p:ext uri="{BB962C8B-B14F-4D97-AF65-F5344CB8AC3E}">
        <p14:creationId xmlns:p14="http://schemas.microsoft.com/office/powerpoint/2010/main" val="92846822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28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rta Gantt Think-C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C1B8FB80-D582-7D41-94DF-9DC79634318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49263" y="1620839"/>
            <a:ext cx="11285610" cy="473036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096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192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Insertar gráfico o carta </a:t>
            </a:r>
            <a:r>
              <a:rPr lang="es-ES" dirty="0" err="1"/>
              <a:t>gantt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99DF259F-26EC-6D42-9FFD-76516139E9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263" y="450851"/>
            <a:ext cx="717073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20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6DAD5ADC-3BA7-A04E-AA58-E3B17E4EEA98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BFD5F86E-466F-8F49-B5F9-30B2C6D24CF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833693"/>
            <a:ext cx="717073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:a16="http://schemas.microsoft.com/office/drawing/2014/main" id="{A92E6723-6A59-0246-B1F5-4E38B0A329F9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</p:spTree>
    <p:extLst>
      <p:ext uri="{BB962C8B-B14F-4D97-AF65-F5344CB8AC3E}">
        <p14:creationId xmlns:p14="http://schemas.microsoft.com/office/powerpoint/2010/main" val="311794354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43" name="Marcador de texto 7">
            <a:extLst>
              <a:ext uri="{FF2B5EF4-FFF2-40B4-BE49-F238E27FC236}">
                <a16:creationId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3309" y="2023281"/>
            <a:ext cx="6996190" cy="7587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4" name="Marcador de texto 7">
            <a:extLst>
              <a:ext uri="{FF2B5EF4-FFF2-40B4-BE49-F238E27FC236}">
                <a16:creationId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06938" y="2196212"/>
            <a:ext cx="1257300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0" name="Conector recto 89">
            <a:extLst>
              <a:ext uri="{FF2B5EF4-FFF2-40B4-BE49-F238E27FC236}">
                <a16:creationId xmlns:a16="http://schemas.microsoft.com/office/drawing/2014/main" id="{918C4B25-4DE6-4C44-8031-9999A5B2D42B}"/>
              </a:ext>
            </a:extLst>
          </p:cNvPr>
          <p:cNvCxnSpPr/>
          <p:nvPr userDrawn="1"/>
        </p:nvCxnSpPr>
        <p:spPr>
          <a:xfrm>
            <a:off x="3777749" y="1978138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83309" y="3114898"/>
            <a:ext cx="6996190" cy="7587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95" name="Marcador de texto 7">
            <a:extLst>
              <a:ext uri="{FF2B5EF4-FFF2-40B4-BE49-F238E27FC236}">
                <a16:creationId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06938" y="3287829"/>
            <a:ext cx="1257300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6" name="Conector recto 95">
            <a:extLst>
              <a:ext uri="{FF2B5EF4-FFF2-40B4-BE49-F238E27FC236}">
                <a16:creationId xmlns:a16="http://schemas.microsoft.com/office/drawing/2014/main" id="{82B8DDEA-E931-994F-86BA-42BAB21F35DB}"/>
              </a:ext>
            </a:extLst>
          </p:cNvPr>
          <p:cNvCxnSpPr/>
          <p:nvPr userDrawn="1"/>
        </p:nvCxnSpPr>
        <p:spPr>
          <a:xfrm>
            <a:off x="3777749" y="3069755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0" name="Marcador de texto 7">
            <a:extLst>
              <a:ext uri="{FF2B5EF4-FFF2-40B4-BE49-F238E27FC236}">
                <a16:creationId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83309" y="4206516"/>
            <a:ext cx="6996190" cy="7587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06938" y="4379447"/>
            <a:ext cx="1257300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:a16="http://schemas.microsoft.com/office/drawing/2014/main" id="{25F53A69-89D3-734D-9B06-56318A2B5E6E}"/>
              </a:ext>
            </a:extLst>
          </p:cNvPr>
          <p:cNvCxnSpPr/>
          <p:nvPr userDrawn="1"/>
        </p:nvCxnSpPr>
        <p:spPr>
          <a:xfrm>
            <a:off x="3777749" y="4161373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83309" y="5298133"/>
            <a:ext cx="6996190" cy="7587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7" name="Marcador de texto 7">
            <a:extLst>
              <a:ext uri="{FF2B5EF4-FFF2-40B4-BE49-F238E27FC236}">
                <a16:creationId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106938" y="5471064"/>
            <a:ext cx="1257300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8" name="Conector recto 107">
            <a:extLst>
              <a:ext uri="{FF2B5EF4-FFF2-40B4-BE49-F238E27FC236}">
                <a16:creationId xmlns:a16="http://schemas.microsoft.com/office/drawing/2014/main" id="{A420EF3B-A9EA-F74A-AFB4-B01AC7830323}"/>
              </a:ext>
            </a:extLst>
          </p:cNvPr>
          <p:cNvCxnSpPr/>
          <p:nvPr userDrawn="1"/>
        </p:nvCxnSpPr>
        <p:spPr>
          <a:xfrm>
            <a:off x="3777749" y="5252991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6" name="Marcador de posición de imagen 3">
            <a:extLst>
              <a:ext uri="{FF2B5EF4-FFF2-40B4-BE49-F238E27FC236}">
                <a16:creationId xmlns:a16="http://schemas.microsoft.com/office/drawing/2014/main" id="{5383AF3D-2849-A44D-B460-812DA0F91F3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982634" y="207952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7" name="Marcador de posición de imagen 3">
            <a:extLst>
              <a:ext uri="{FF2B5EF4-FFF2-40B4-BE49-F238E27FC236}">
                <a16:creationId xmlns:a16="http://schemas.microsoft.com/office/drawing/2014/main" id="{A3E9D49A-7FEB-CA48-A0DA-D7F0AD0B39D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982634" y="3158310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8" name="Marcador de posición de imagen 3">
            <a:extLst>
              <a:ext uri="{FF2B5EF4-FFF2-40B4-BE49-F238E27FC236}">
                <a16:creationId xmlns:a16="http://schemas.microsoft.com/office/drawing/2014/main" id="{21F56DF0-CFA8-3E4A-A473-7B4F791BB3B2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82634" y="4247371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:a16="http://schemas.microsoft.com/office/drawing/2014/main" id="{967F9466-8202-8F4B-94E1-63B831183C4E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969844" y="5336432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4" name="Marcador de texto 7">
            <a:extLst>
              <a:ext uri="{FF2B5EF4-FFF2-40B4-BE49-F238E27FC236}">
                <a16:creationId xmlns:a16="http://schemas.microsoft.com/office/drawing/2014/main" id="{8DE42C5D-9720-9148-A773-2BDE55C68D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263" y="450851"/>
            <a:ext cx="717073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20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id="{95189023-B5F3-FD41-A53A-BE2AB9A3E4B7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8" name="Marcador de texto 7">
            <a:extLst>
              <a:ext uri="{FF2B5EF4-FFF2-40B4-BE49-F238E27FC236}">
                <a16:creationId xmlns:a16="http://schemas.microsoft.com/office/drawing/2014/main" id="{18D514EF-3EEB-824E-99EA-9C2ACAAAAE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833693"/>
            <a:ext cx="717073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:a16="http://schemas.microsoft.com/office/drawing/2014/main" id="{CAFA77C0-C295-3D4D-88B5-DE00CB583A44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</p:spTree>
    <p:extLst>
      <p:ext uri="{BB962C8B-B14F-4D97-AF65-F5344CB8AC3E}">
        <p14:creationId xmlns:p14="http://schemas.microsoft.com/office/powerpoint/2010/main" val="43303775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081" userDrawn="1">
          <p15:clr>
            <a:srgbClr val="FBAE40"/>
          </p15:clr>
        </p15:guide>
        <p15:guide id="2" pos="28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3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43" name="Marcador de texto 7">
            <a:extLst>
              <a:ext uri="{FF2B5EF4-FFF2-40B4-BE49-F238E27FC236}">
                <a16:creationId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05184" y="1667640"/>
            <a:ext cx="3614815" cy="758780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4" name="Marcador de texto 7">
            <a:extLst>
              <a:ext uri="{FF2B5EF4-FFF2-40B4-BE49-F238E27FC236}">
                <a16:creationId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8813" y="1840571"/>
            <a:ext cx="1257300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0" name="Conector recto 89">
            <a:extLst>
              <a:ext uri="{FF2B5EF4-FFF2-40B4-BE49-F238E27FC236}">
                <a16:creationId xmlns:a16="http://schemas.microsoft.com/office/drawing/2014/main" id="{918C4B25-4DE6-4C44-8031-9999A5B2D42B}"/>
              </a:ext>
            </a:extLst>
          </p:cNvPr>
          <p:cNvCxnSpPr/>
          <p:nvPr userDrawn="1"/>
        </p:nvCxnSpPr>
        <p:spPr>
          <a:xfrm>
            <a:off x="3599624" y="1622497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5184" y="2877804"/>
            <a:ext cx="3610800" cy="758780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95" name="Marcador de texto 7">
            <a:extLst>
              <a:ext uri="{FF2B5EF4-FFF2-40B4-BE49-F238E27FC236}">
                <a16:creationId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28813" y="3050735"/>
            <a:ext cx="1257300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6" name="Conector recto 95">
            <a:extLst>
              <a:ext uri="{FF2B5EF4-FFF2-40B4-BE49-F238E27FC236}">
                <a16:creationId xmlns:a16="http://schemas.microsoft.com/office/drawing/2014/main" id="{82B8DDEA-E931-994F-86BA-42BAB21F35DB}"/>
              </a:ext>
            </a:extLst>
          </p:cNvPr>
          <p:cNvCxnSpPr/>
          <p:nvPr userDrawn="1"/>
        </p:nvCxnSpPr>
        <p:spPr>
          <a:xfrm>
            <a:off x="3599624" y="2836620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0" name="Marcador de texto 7">
            <a:extLst>
              <a:ext uri="{FF2B5EF4-FFF2-40B4-BE49-F238E27FC236}">
                <a16:creationId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05184" y="4087968"/>
            <a:ext cx="3610800" cy="758780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28813" y="4260899"/>
            <a:ext cx="1257300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:a16="http://schemas.microsoft.com/office/drawing/2014/main" id="{25F53A69-89D3-734D-9B06-56318A2B5E6E}"/>
              </a:ext>
            </a:extLst>
          </p:cNvPr>
          <p:cNvCxnSpPr/>
          <p:nvPr userDrawn="1"/>
        </p:nvCxnSpPr>
        <p:spPr>
          <a:xfrm>
            <a:off x="3599624" y="4050743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05184" y="5298133"/>
            <a:ext cx="3614811" cy="758780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7" name="Marcador de texto 7">
            <a:extLst>
              <a:ext uri="{FF2B5EF4-FFF2-40B4-BE49-F238E27FC236}">
                <a16:creationId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28813" y="5471064"/>
            <a:ext cx="1257300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8" name="Conector recto 107">
            <a:extLst>
              <a:ext uri="{FF2B5EF4-FFF2-40B4-BE49-F238E27FC236}">
                <a16:creationId xmlns:a16="http://schemas.microsoft.com/office/drawing/2014/main" id="{A420EF3B-A9EA-F74A-AFB4-B01AC7830323}"/>
              </a:ext>
            </a:extLst>
          </p:cNvPr>
          <p:cNvCxnSpPr/>
          <p:nvPr userDrawn="1"/>
        </p:nvCxnSpPr>
        <p:spPr>
          <a:xfrm>
            <a:off x="3599624" y="5264866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6" name="Marcador de posición de imagen 2">
            <a:extLst>
              <a:ext uri="{FF2B5EF4-FFF2-40B4-BE49-F238E27FC236}">
                <a16:creationId xmlns:a16="http://schemas.microsoft.com/office/drawing/2014/main" id="{8FCD531C-778A-2E4A-9ABA-A34D4648680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404225" y="1667640"/>
            <a:ext cx="3323432" cy="2127802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39" name="Marcador de posición de imagen 2">
            <a:extLst>
              <a:ext uri="{FF2B5EF4-FFF2-40B4-BE49-F238E27FC236}">
                <a16:creationId xmlns:a16="http://schemas.microsoft.com/office/drawing/2014/main" id="{E1719074-B64D-B840-B12F-779CE3A91C3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404225" y="3930697"/>
            <a:ext cx="3323432" cy="2127802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45" name="Marcador de posición de imagen 3">
            <a:extLst>
              <a:ext uri="{FF2B5EF4-FFF2-40B4-BE49-F238E27FC236}">
                <a16:creationId xmlns:a16="http://schemas.microsoft.com/office/drawing/2014/main" id="{BF352FCF-2840-F641-B261-0E6B39E9284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804509" y="1723883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:a16="http://schemas.microsoft.com/office/drawing/2014/main" id="{FC5D998E-8878-364C-B535-4672C2DA176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804509" y="2931491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0" name="Marcador de posición de imagen 3">
            <a:extLst>
              <a:ext uri="{FF2B5EF4-FFF2-40B4-BE49-F238E27FC236}">
                <a16:creationId xmlns:a16="http://schemas.microsoft.com/office/drawing/2014/main" id="{7BE1B078-7F8B-5649-8CC2-046FD74D82BE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04509" y="4139099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1" name="Marcador de posición de imagen 3">
            <a:extLst>
              <a:ext uri="{FF2B5EF4-FFF2-40B4-BE49-F238E27FC236}">
                <a16:creationId xmlns:a16="http://schemas.microsoft.com/office/drawing/2014/main" id="{7C49BCC0-4D4D-EB4A-8268-F60F518F5523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804509" y="5346707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6" name="Marcador de texto 7">
            <a:extLst>
              <a:ext uri="{FF2B5EF4-FFF2-40B4-BE49-F238E27FC236}">
                <a16:creationId xmlns:a16="http://schemas.microsoft.com/office/drawing/2014/main" id="{5C4A2C7A-F397-A246-B0CC-91E0E2BA8E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263" y="450851"/>
            <a:ext cx="717073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20</a:t>
            </a:r>
          </a:p>
        </p:txBody>
      </p:sp>
      <p:cxnSp>
        <p:nvCxnSpPr>
          <p:cNvPr id="28" name="Conector recto 27">
            <a:extLst>
              <a:ext uri="{FF2B5EF4-FFF2-40B4-BE49-F238E27FC236}">
                <a16:creationId xmlns:a16="http://schemas.microsoft.com/office/drawing/2014/main" id="{EF410534-C125-F046-BBFA-B9CD4A714ADF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9" name="Marcador de texto 7">
            <a:extLst>
              <a:ext uri="{FF2B5EF4-FFF2-40B4-BE49-F238E27FC236}">
                <a16:creationId xmlns:a16="http://schemas.microsoft.com/office/drawing/2014/main" id="{11933FA1-F239-4040-9A8E-956380D3732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833693"/>
            <a:ext cx="717073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sp>
        <p:nvSpPr>
          <p:cNvPr id="27" name="Marcador de número de diapositiva 1">
            <a:extLst>
              <a:ext uri="{FF2B5EF4-FFF2-40B4-BE49-F238E27FC236}">
                <a16:creationId xmlns:a16="http://schemas.microsoft.com/office/drawing/2014/main" id="{16214E9B-558A-2D4A-9C33-FF08516D28F6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</p:spTree>
    <p:extLst>
      <p:ext uri="{BB962C8B-B14F-4D97-AF65-F5344CB8AC3E}">
        <p14:creationId xmlns:p14="http://schemas.microsoft.com/office/powerpoint/2010/main" val="395776261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081" userDrawn="1">
          <p15:clr>
            <a:srgbClr val="FBAE40"/>
          </p15:clr>
        </p15:guide>
        <p15:guide id="2" pos="280" userDrawn="1">
          <p15:clr>
            <a:srgbClr val="FBAE40"/>
          </p15:clr>
        </p15:guide>
        <p15:guide id="3" pos="1206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solo ícon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44" name="Marcador de texto 7">
            <a:extLst>
              <a:ext uri="{FF2B5EF4-FFF2-40B4-BE49-F238E27FC236}">
                <a16:creationId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322" y="2965399"/>
            <a:ext cx="1482253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78" name="Marcador de texto 7">
            <a:extLst>
              <a:ext uri="{FF2B5EF4-FFF2-40B4-BE49-F238E27FC236}">
                <a16:creationId xmlns:a16="http://schemas.microsoft.com/office/drawing/2014/main" id="{5FD5CE98-A125-7D47-90B3-6D68BF0AD1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968122" y="2965399"/>
            <a:ext cx="1482253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82" name="Marcador de texto 7">
            <a:extLst>
              <a:ext uri="{FF2B5EF4-FFF2-40B4-BE49-F238E27FC236}">
                <a16:creationId xmlns:a16="http://schemas.microsoft.com/office/drawing/2014/main" id="{BB03827E-9E73-F54D-91ED-F37E18DF6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17357" y="2965399"/>
            <a:ext cx="1482253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86" name="Marcador de texto 7">
            <a:extLst>
              <a:ext uri="{FF2B5EF4-FFF2-40B4-BE49-F238E27FC236}">
                <a16:creationId xmlns:a16="http://schemas.microsoft.com/office/drawing/2014/main" id="{D3E3EFE6-6F4B-B54D-AF2C-EAD0435E5D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8467" y="2965399"/>
            <a:ext cx="1482253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09" name="Marcador de texto 7">
            <a:extLst>
              <a:ext uri="{FF2B5EF4-FFF2-40B4-BE49-F238E27FC236}">
                <a16:creationId xmlns:a16="http://schemas.microsoft.com/office/drawing/2014/main" id="{991112FC-F65D-FA43-B1F6-7F488AE779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3322" y="5074754"/>
            <a:ext cx="1482253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13" name="Marcador de texto 7">
            <a:extLst>
              <a:ext uri="{FF2B5EF4-FFF2-40B4-BE49-F238E27FC236}">
                <a16:creationId xmlns:a16="http://schemas.microsoft.com/office/drawing/2014/main" id="{2595DA74-33F5-8E48-A29B-0384767D566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968122" y="5074754"/>
            <a:ext cx="1482253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17" name="Marcador de texto 7">
            <a:extLst>
              <a:ext uri="{FF2B5EF4-FFF2-40B4-BE49-F238E27FC236}">
                <a16:creationId xmlns:a16="http://schemas.microsoft.com/office/drawing/2014/main" id="{B9DD7AC7-E6A2-1A49-8E09-B1BBD971806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17357" y="5074754"/>
            <a:ext cx="1482253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21" name="Marcador de texto 7">
            <a:extLst>
              <a:ext uri="{FF2B5EF4-FFF2-40B4-BE49-F238E27FC236}">
                <a16:creationId xmlns:a16="http://schemas.microsoft.com/office/drawing/2014/main" id="{57427875-4083-0746-9C0D-BFCA937A310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78467" y="5074754"/>
            <a:ext cx="1482253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54" name="Marcador de posición de imagen 3">
            <a:extLst>
              <a:ext uri="{FF2B5EF4-FFF2-40B4-BE49-F238E27FC236}">
                <a16:creationId xmlns:a16="http://schemas.microsoft.com/office/drawing/2014/main" id="{EE3102D7-7297-9344-91F2-85FF3C368DD3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63322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5" name="Marcador de posición de imagen 3">
            <a:extLst>
              <a:ext uri="{FF2B5EF4-FFF2-40B4-BE49-F238E27FC236}">
                <a16:creationId xmlns:a16="http://schemas.microsoft.com/office/drawing/2014/main" id="{9FBDFC9B-7C8B-DC45-B9F9-55498656D1B0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3278467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6" name="Marcador de posición de imagen 3">
            <a:extLst>
              <a:ext uri="{FF2B5EF4-FFF2-40B4-BE49-F238E27FC236}">
                <a16:creationId xmlns:a16="http://schemas.microsoft.com/office/drawing/2014/main" id="{559CBD6C-2DC7-224F-B729-9E291911C669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6117357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7" name="Marcador de posición de imagen 3">
            <a:extLst>
              <a:ext uri="{FF2B5EF4-FFF2-40B4-BE49-F238E27FC236}">
                <a16:creationId xmlns:a16="http://schemas.microsoft.com/office/drawing/2014/main" id="{073AEE27-09DF-6543-BB4D-7D5DFB1B4B3D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8968122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8" name="Marcador de posición de imagen 3">
            <a:extLst>
              <a:ext uri="{FF2B5EF4-FFF2-40B4-BE49-F238E27FC236}">
                <a16:creationId xmlns:a16="http://schemas.microsoft.com/office/drawing/2014/main" id="{70515F09-3022-7248-97FD-AF60E7A637A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3278467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9" name="Marcador de posición de imagen 3">
            <a:extLst>
              <a:ext uri="{FF2B5EF4-FFF2-40B4-BE49-F238E27FC236}">
                <a16:creationId xmlns:a16="http://schemas.microsoft.com/office/drawing/2014/main" id="{E7CAD503-A102-B44B-9C6B-B30F3C55AFE9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6117357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60" name="Marcador de posición de imagen 3">
            <a:extLst>
              <a:ext uri="{FF2B5EF4-FFF2-40B4-BE49-F238E27FC236}">
                <a16:creationId xmlns:a16="http://schemas.microsoft.com/office/drawing/2014/main" id="{B55D27B1-5A3C-974C-BE65-F74B63816EF2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8968122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61" name="Marcador de posición de imagen 3">
            <a:extLst>
              <a:ext uri="{FF2B5EF4-FFF2-40B4-BE49-F238E27FC236}">
                <a16:creationId xmlns:a16="http://schemas.microsoft.com/office/drawing/2014/main" id="{537522F4-CAC5-624A-9444-E535A83A84B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63322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4" name="Marcador de texto 7">
            <a:extLst>
              <a:ext uri="{FF2B5EF4-FFF2-40B4-BE49-F238E27FC236}">
                <a16:creationId xmlns:a16="http://schemas.microsoft.com/office/drawing/2014/main" id="{D7F16B2B-5608-8049-AD16-92F8A7BB75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263" y="450851"/>
            <a:ext cx="717073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20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id="{91D8A82A-8DED-044E-BE2B-E7D87459CE44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7" name="Marcador de texto 7">
            <a:extLst>
              <a:ext uri="{FF2B5EF4-FFF2-40B4-BE49-F238E27FC236}">
                <a16:creationId xmlns:a16="http://schemas.microsoft.com/office/drawing/2014/main" id="{3B47C91C-F7E8-3F45-821E-F2C53E4BE5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833693"/>
            <a:ext cx="717073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:a16="http://schemas.microsoft.com/office/drawing/2014/main" id="{A6AECD0F-9426-464D-BB7E-B8E60D81534C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</p:spTree>
    <p:extLst>
      <p:ext uri="{BB962C8B-B14F-4D97-AF65-F5344CB8AC3E}">
        <p14:creationId xmlns:p14="http://schemas.microsoft.com/office/powerpoint/2010/main" val="284900969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081" userDrawn="1">
          <p15:clr>
            <a:srgbClr val="FBAE40"/>
          </p15:clr>
        </p15:guide>
        <p15:guide id="3" pos="5632" userDrawn="1">
          <p15:clr>
            <a:srgbClr val="FBAE40"/>
          </p15:clr>
        </p15:guide>
        <p15:guide id="4" pos="3840" userDrawn="1">
          <p15:clr>
            <a:srgbClr val="FBAE40"/>
          </p15:clr>
        </p15:guide>
        <p15:guide id="5" pos="2048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diagra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39" name="Conector recto 74">
            <a:extLst>
              <a:ext uri="{FF2B5EF4-FFF2-40B4-BE49-F238E27FC236}">
                <a16:creationId xmlns:a16="http://schemas.microsoft.com/office/drawing/2014/main" id="{2E83A0D3-D9D1-6D40-A776-3D97DAAA669E}"/>
              </a:ext>
            </a:extLst>
          </p:cNvPr>
          <p:cNvSpPr/>
          <p:nvPr userDrawn="1"/>
        </p:nvSpPr>
        <p:spPr>
          <a:xfrm flipH="1">
            <a:off x="2490076" y="4761353"/>
            <a:ext cx="2100209" cy="1"/>
          </a:xfrm>
          <a:prstGeom prst="line">
            <a:avLst/>
          </a:prstGeom>
          <a:solidFill>
            <a:srgbClr val="FFFFFF"/>
          </a:solidFill>
          <a:ln w="15875">
            <a:solidFill>
              <a:srgbClr val="34783B"/>
            </a:solidFill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0" name="Imagen" descr="Imagen">
            <a:extLst>
              <a:ext uri="{FF2B5EF4-FFF2-40B4-BE49-F238E27FC236}">
                <a16:creationId xmlns:a16="http://schemas.microsoft.com/office/drawing/2014/main" id="{9779F4AF-5D4E-794B-A466-FB22A903A06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261465" y="1712995"/>
            <a:ext cx="7734487" cy="2581598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42" name="Círculo">
            <a:extLst>
              <a:ext uri="{FF2B5EF4-FFF2-40B4-BE49-F238E27FC236}">
                <a16:creationId xmlns:a16="http://schemas.microsoft.com/office/drawing/2014/main" id="{47C42AAE-D2EA-A84A-871A-0C47609DE7C1}"/>
              </a:ext>
            </a:extLst>
          </p:cNvPr>
          <p:cNvSpPr/>
          <p:nvPr userDrawn="1"/>
        </p:nvSpPr>
        <p:spPr>
          <a:xfrm>
            <a:off x="2077070" y="2797290"/>
            <a:ext cx="413006" cy="413006"/>
          </a:xfrm>
          <a:prstGeom prst="ellipse">
            <a:avLst/>
          </a:prstGeom>
          <a:solidFill>
            <a:srgbClr val="FFFFFF"/>
          </a:solidFill>
          <a:ln w="31750" cap="flat">
            <a:solidFill>
              <a:schemeClr val="tx1"/>
            </a:solidFill>
            <a:prstDash val="solid"/>
            <a:miter lim="400000"/>
          </a:ln>
          <a:effectLst/>
        </p:spPr>
        <p:txBody>
          <a:bodyPr wrap="square" lIns="25400" tIns="25400" rIns="25400" bIns="25400" numCol="1" anchor="ctr">
            <a:noAutofit/>
          </a:bodyPr>
          <a:lstStyle/>
          <a:p>
            <a:pPr algn="ctr" defTabSz="412750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extBox 3">
            <a:extLst>
              <a:ext uri="{FF2B5EF4-FFF2-40B4-BE49-F238E27FC236}">
                <a16:creationId xmlns:a16="http://schemas.microsoft.com/office/drawing/2014/main" id="{0FCA73FE-D49A-7545-825C-40B69769AC2B}"/>
              </a:ext>
            </a:extLst>
          </p:cNvPr>
          <p:cNvSpPr txBox="1"/>
          <p:nvPr userDrawn="1"/>
        </p:nvSpPr>
        <p:spPr>
          <a:xfrm>
            <a:off x="2186639" y="2856629"/>
            <a:ext cx="205379" cy="3122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34783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2000" dirty="0"/>
              <a:t>1</a:t>
            </a:r>
          </a:p>
        </p:txBody>
      </p:sp>
      <p:sp>
        <p:nvSpPr>
          <p:cNvPr id="47" name="Círculo">
            <a:extLst>
              <a:ext uri="{FF2B5EF4-FFF2-40B4-BE49-F238E27FC236}">
                <a16:creationId xmlns:a16="http://schemas.microsoft.com/office/drawing/2014/main" id="{45ECB7D4-EDAE-FE48-9F43-04C457C03100}"/>
              </a:ext>
            </a:extLst>
          </p:cNvPr>
          <p:cNvSpPr/>
          <p:nvPr userDrawn="1"/>
        </p:nvSpPr>
        <p:spPr>
          <a:xfrm>
            <a:off x="7744554" y="3795582"/>
            <a:ext cx="413006" cy="413006"/>
          </a:xfrm>
          <a:prstGeom prst="ellipse">
            <a:avLst/>
          </a:prstGeom>
          <a:solidFill>
            <a:srgbClr val="FFFFFF"/>
          </a:solidFill>
          <a:ln w="31750" cap="flat">
            <a:solidFill>
              <a:srgbClr val="90BB3A"/>
            </a:solidFill>
            <a:prstDash val="solid"/>
            <a:miter lim="400000"/>
          </a:ln>
          <a:effectLst/>
        </p:spPr>
        <p:txBody>
          <a:bodyPr wrap="square" lIns="25400" tIns="25400" rIns="25400" bIns="25400" numCol="1" anchor="ctr">
            <a:noAutofit/>
          </a:bodyPr>
          <a:lstStyle/>
          <a:p>
            <a:pPr algn="ctr" defTabSz="412750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TextBox 3">
            <a:extLst>
              <a:ext uri="{FF2B5EF4-FFF2-40B4-BE49-F238E27FC236}">
                <a16:creationId xmlns:a16="http://schemas.microsoft.com/office/drawing/2014/main" id="{ECA73037-CC25-994E-B9C4-3D9D5FEDFBCF}"/>
              </a:ext>
            </a:extLst>
          </p:cNvPr>
          <p:cNvSpPr txBox="1"/>
          <p:nvPr userDrawn="1"/>
        </p:nvSpPr>
        <p:spPr>
          <a:xfrm>
            <a:off x="7860242" y="3849395"/>
            <a:ext cx="205379" cy="312265"/>
          </a:xfrm>
          <a:prstGeom prst="rect">
            <a:avLst/>
          </a:prstGeom>
          <a:noFill/>
          <a:ln w="12700" cap="flat">
            <a:solidFill>
              <a:schemeClr val="bg1"/>
            </a:solidFill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90BB3A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2000" dirty="0"/>
              <a:t>3</a:t>
            </a:r>
          </a:p>
        </p:txBody>
      </p:sp>
      <p:sp>
        <p:nvSpPr>
          <p:cNvPr id="49" name="Círculo">
            <a:extLst>
              <a:ext uri="{FF2B5EF4-FFF2-40B4-BE49-F238E27FC236}">
                <a16:creationId xmlns:a16="http://schemas.microsoft.com/office/drawing/2014/main" id="{B91AEEFA-2801-0E4A-A557-935B69C160C0}"/>
              </a:ext>
            </a:extLst>
          </p:cNvPr>
          <p:cNvSpPr/>
          <p:nvPr userDrawn="1"/>
        </p:nvSpPr>
        <p:spPr>
          <a:xfrm>
            <a:off x="5151646" y="1773241"/>
            <a:ext cx="413006" cy="413006"/>
          </a:xfrm>
          <a:prstGeom prst="ellipse">
            <a:avLst/>
          </a:prstGeom>
          <a:solidFill>
            <a:srgbClr val="FFFFFF"/>
          </a:solidFill>
          <a:ln w="31750" cap="flat">
            <a:solidFill>
              <a:schemeClr val="tx2"/>
            </a:solidFill>
            <a:prstDash val="solid"/>
            <a:miter lim="400000"/>
          </a:ln>
          <a:effectLst/>
        </p:spPr>
        <p:txBody>
          <a:bodyPr wrap="square" lIns="25400" tIns="25400" rIns="25400" bIns="25400" numCol="1" anchor="ctr">
            <a:noAutofit/>
          </a:bodyPr>
          <a:lstStyle/>
          <a:p>
            <a:pPr algn="ctr" defTabSz="412750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Box 3">
            <a:extLst>
              <a:ext uri="{FF2B5EF4-FFF2-40B4-BE49-F238E27FC236}">
                <a16:creationId xmlns:a16="http://schemas.microsoft.com/office/drawing/2014/main" id="{5CB1B3A6-600F-8646-AE4B-9007700B8084}"/>
              </a:ext>
            </a:extLst>
          </p:cNvPr>
          <p:cNvSpPr txBox="1"/>
          <p:nvPr userDrawn="1"/>
        </p:nvSpPr>
        <p:spPr>
          <a:xfrm>
            <a:off x="5259269" y="1832578"/>
            <a:ext cx="205379" cy="3122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5E5E5E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2000" dirty="0"/>
              <a:t>2</a:t>
            </a:r>
          </a:p>
        </p:txBody>
      </p:sp>
      <p:sp>
        <p:nvSpPr>
          <p:cNvPr id="51" name="Conector recto 74">
            <a:extLst>
              <a:ext uri="{FF2B5EF4-FFF2-40B4-BE49-F238E27FC236}">
                <a16:creationId xmlns:a16="http://schemas.microsoft.com/office/drawing/2014/main" id="{5581399F-60DC-C146-9774-D7BD814FB18C}"/>
              </a:ext>
            </a:extLst>
          </p:cNvPr>
          <p:cNvSpPr/>
          <p:nvPr userDrawn="1"/>
        </p:nvSpPr>
        <p:spPr>
          <a:xfrm flipH="1">
            <a:off x="5045895" y="4761353"/>
            <a:ext cx="2100209" cy="1"/>
          </a:xfrm>
          <a:prstGeom prst="line">
            <a:avLst/>
          </a:prstGeom>
          <a:solidFill>
            <a:srgbClr val="FFFFFF"/>
          </a:solidFill>
          <a:ln w="15875">
            <a:solidFill>
              <a:srgbClr val="5E5E5E"/>
            </a:solidFill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Conector recto 74">
            <a:extLst>
              <a:ext uri="{FF2B5EF4-FFF2-40B4-BE49-F238E27FC236}">
                <a16:creationId xmlns:a16="http://schemas.microsoft.com/office/drawing/2014/main" id="{27D50CA8-0FE2-7645-830A-F4271EB0ED40}"/>
              </a:ext>
            </a:extLst>
          </p:cNvPr>
          <p:cNvSpPr/>
          <p:nvPr userDrawn="1"/>
        </p:nvSpPr>
        <p:spPr>
          <a:xfrm flipH="1">
            <a:off x="7626555" y="4761353"/>
            <a:ext cx="2100209" cy="1"/>
          </a:xfrm>
          <a:prstGeom prst="line">
            <a:avLst/>
          </a:prstGeom>
          <a:solidFill>
            <a:srgbClr val="FFFFFF"/>
          </a:solidFill>
          <a:ln w="15875">
            <a:solidFill>
              <a:srgbClr val="90BB3A"/>
            </a:solidFill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Marcador de texto 7">
            <a:extLst>
              <a:ext uri="{FF2B5EF4-FFF2-40B4-BE49-F238E27FC236}">
                <a16:creationId xmlns:a16="http://schemas.microsoft.com/office/drawing/2014/main" id="{CB581C8C-78B0-CF47-B07E-37D4BD3657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90076" y="4999498"/>
            <a:ext cx="2100209" cy="758780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tx1"/>
              </a:buClr>
              <a:buSzPct val="80000"/>
              <a:buFont typeface="Wingdings" pitchFamily="2" charset="2"/>
              <a:buChar char="§"/>
              <a:defRPr sz="1400" b="0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8" name="Marcador de texto 7">
            <a:extLst>
              <a:ext uri="{FF2B5EF4-FFF2-40B4-BE49-F238E27FC236}">
                <a16:creationId xmlns:a16="http://schemas.microsoft.com/office/drawing/2014/main" id="{F6152E70-DB5D-FB46-AC42-E25D388437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58316" y="4999498"/>
            <a:ext cx="2100209" cy="758780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tx2"/>
              </a:buClr>
              <a:buSzPct val="80000"/>
              <a:buFont typeface="Wingdings" pitchFamily="2" charset="2"/>
              <a:buChar char="§"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9" name="Marcador de texto 7">
            <a:extLst>
              <a:ext uri="{FF2B5EF4-FFF2-40B4-BE49-F238E27FC236}">
                <a16:creationId xmlns:a16="http://schemas.microsoft.com/office/drawing/2014/main" id="{97E32544-5D63-C045-A2C9-208A3A350E2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26555" y="4999498"/>
            <a:ext cx="2100209" cy="758780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SzPct val="80000"/>
              <a:buFont typeface="Wingdings" pitchFamily="2" charset="2"/>
              <a:buChar char="§"/>
              <a:defRPr sz="14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24" name="Marcador de texto 7">
            <a:extLst>
              <a:ext uri="{FF2B5EF4-FFF2-40B4-BE49-F238E27FC236}">
                <a16:creationId xmlns:a16="http://schemas.microsoft.com/office/drawing/2014/main" id="{BB74E2B5-747C-214B-A21F-ABB0276159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263" y="450851"/>
            <a:ext cx="717073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20</a:t>
            </a:r>
          </a:p>
        </p:txBody>
      </p:sp>
      <p:cxnSp>
        <p:nvCxnSpPr>
          <p:cNvPr id="29" name="Conector recto 28">
            <a:extLst>
              <a:ext uri="{FF2B5EF4-FFF2-40B4-BE49-F238E27FC236}">
                <a16:creationId xmlns:a16="http://schemas.microsoft.com/office/drawing/2014/main" id="{B16CE18D-9213-524F-A475-59E8222A8FB2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0" name="Marcador de texto 7">
            <a:extLst>
              <a:ext uri="{FF2B5EF4-FFF2-40B4-BE49-F238E27FC236}">
                <a16:creationId xmlns:a16="http://schemas.microsoft.com/office/drawing/2014/main" id="{422E74A6-DF90-4340-84D6-7FDDA2ACD0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833693"/>
            <a:ext cx="717073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:a16="http://schemas.microsoft.com/office/drawing/2014/main" id="{BD2892FD-8B11-D94E-92D6-35A1466F2AC1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23" name="Marcador de texto 7">
            <a:extLst>
              <a:ext uri="{FF2B5EF4-FFF2-40B4-BE49-F238E27FC236}">
                <a16:creationId xmlns:a16="http://schemas.microsoft.com/office/drawing/2014/main" id="{4D8C07C6-F038-574C-9447-EE5D23F2AED9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490076" y="2789698"/>
            <a:ext cx="2100209" cy="758780"/>
          </a:xfrm>
          <a:prstGeom prst="rect">
            <a:avLst/>
          </a:prstGeom>
        </p:spPr>
        <p:txBody>
          <a:bodyPr/>
          <a:lstStyle>
            <a:lvl1pPr marL="171450" indent="-171450" algn="ctr">
              <a:buClr>
                <a:schemeClr val="tx1"/>
              </a:buClr>
              <a:buSzPct val="80000"/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26" name="Marcador de texto 7">
            <a:extLst>
              <a:ext uri="{FF2B5EF4-FFF2-40B4-BE49-F238E27FC236}">
                <a16:creationId xmlns:a16="http://schemas.microsoft.com/office/drawing/2014/main" id="{078480EC-C091-BE4F-BA1A-99D711D37C6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058316" y="2789698"/>
            <a:ext cx="2100209" cy="758780"/>
          </a:xfrm>
          <a:prstGeom prst="rect">
            <a:avLst/>
          </a:prstGeom>
        </p:spPr>
        <p:txBody>
          <a:bodyPr/>
          <a:lstStyle>
            <a:lvl1pPr marL="171450" indent="-171450" algn="ctr">
              <a:buClr>
                <a:schemeClr val="tx2"/>
              </a:buClr>
              <a:buSzPct val="80000"/>
              <a:buFontTx/>
              <a:buNone/>
              <a:defRPr sz="1600" b="1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27" name="Marcador de texto 7">
            <a:extLst>
              <a:ext uri="{FF2B5EF4-FFF2-40B4-BE49-F238E27FC236}">
                <a16:creationId xmlns:a16="http://schemas.microsoft.com/office/drawing/2014/main" id="{A2A206CD-450F-6D4C-9ED9-D8B8580AA5F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626555" y="2789698"/>
            <a:ext cx="2100209" cy="758780"/>
          </a:xfrm>
          <a:prstGeom prst="rect">
            <a:avLst/>
          </a:prstGeom>
        </p:spPr>
        <p:txBody>
          <a:bodyPr/>
          <a:lstStyle>
            <a:lvl1pPr marL="171450" indent="-171450" algn="ctr">
              <a:buClr>
                <a:schemeClr val="bg2"/>
              </a:buClr>
              <a:buSzPct val="80000"/>
              <a:buFontTx/>
              <a:buNone/>
              <a:defRPr sz="1600" b="1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30004028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280" userDrawn="1">
          <p15:clr>
            <a:srgbClr val="FBAE40"/>
          </p15:clr>
        </p15:guide>
        <p15:guide id="3" pos="1206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Imagen 38">
            <a:extLst>
              <a:ext uri="{FF2B5EF4-FFF2-40B4-BE49-F238E27FC236}">
                <a16:creationId xmlns:a16="http://schemas.microsoft.com/office/drawing/2014/main" id="{A18F745A-2F94-7047-844D-CB79FE04F5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43" name="Rectángulo">
            <a:extLst>
              <a:ext uri="{FF2B5EF4-FFF2-40B4-BE49-F238E27FC236}">
                <a16:creationId xmlns:a16="http://schemas.microsoft.com/office/drawing/2014/main" id="{42316AC7-064E-6646-A5F4-425D51B6A2C9}"/>
              </a:ext>
            </a:extLst>
          </p:cNvPr>
          <p:cNvSpPr/>
          <p:nvPr userDrawn="1"/>
        </p:nvSpPr>
        <p:spPr>
          <a:xfrm>
            <a:off x="430791" y="3429000"/>
            <a:ext cx="2736057" cy="34301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400" tIns="25400" rIns="25400" bIns="25400" anchor="ctr"/>
          <a:lstStyle/>
          <a:p>
            <a:pPr algn="ctr" defTabSz="913606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200"/>
          </a:p>
        </p:txBody>
      </p:sp>
      <p:sp>
        <p:nvSpPr>
          <p:cNvPr id="65" name="Marcador de texto 7">
            <a:extLst>
              <a:ext uri="{FF2B5EF4-FFF2-40B4-BE49-F238E27FC236}">
                <a16:creationId xmlns:a16="http://schemas.microsoft.com/office/drawing/2014/main" id="{6BF8A88C-2650-B342-AC6A-0910D46C63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7457" y="5036560"/>
            <a:ext cx="2186319" cy="15397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66" name="Marcador de texto 7">
            <a:extLst>
              <a:ext uri="{FF2B5EF4-FFF2-40B4-BE49-F238E27FC236}">
                <a16:creationId xmlns:a16="http://schemas.microsoft.com/office/drawing/2014/main" id="{8FBF1655-AF76-F945-B38F-FE31E3035D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7457" y="3947663"/>
            <a:ext cx="1257300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67" name="Marcador de texto 7">
            <a:extLst>
              <a:ext uri="{FF2B5EF4-FFF2-40B4-BE49-F238E27FC236}">
                <a16:creationId xmlns:a16="http://schemas.microsoft.com/office/drawing/2014/main" id="{D09FBF73-0F86-334D-A640-40FA6422E5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7458" y="4506530"/>
            <a:ext cx="1454400" cy="25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68" name="Rectángulo">
            <a:extLst>
              <a:ext uri="{FF2B5EF4-FFF2-40B4-BE49-F238E27FC236}">
                <a16:creationId xmlns:a16="http://schemas.microsoft.com/office/drawing/2014/main" id="{276E5EE1-B3E1-3F4B-83B9-25BBCDB7164A}"/>
              </a:ext>
            </a:extLst>
          </p:cNvPr>
          <p:cNvSpPr/>
          <p:nvPr userDrawn="1"/>
        </p:nvSpPr>
        <p:spPr>
          <a:xfrm>
            <a:off x="3284827" y="2606947"/>
            <a:ext cx="2736057" cy="4251053"/>
          </a:xfrm>
          <a:prstGeom prst="rect">
            <a:avLst/>
          </a:prstGeom>
          <a:solidFill>
            <a:schemeClr val="tx1"/>
          </a:solidFill>
          <a:ln w="12700">
            <a:noFill/>
            <a:miter lim="400000"/>
          </a:ln>
        </p:spPr>
        <p:txBody>
          <a:bodyPr lIns="25400" tIns="25400" rIns="25400" bIns="25400" anchor="ctr"/>
          <a:lstStyle/>
          <a:p>
            <a:pPr algn="ctr" defTabSz="913606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600"/>
          </a:p>
        </p:txBody>
      </p:sp>
      <p:sp>
        <p:nvSpPr>
          <p:cNvPr id="69" name="Marcador de texto 7">
            <a:extLst>
              <a:ext uri="{FF2B5EF4-FFF2-40B4-BE49-F238E27FC236}">
                <a16:creationId xmlns:a16="http://schemas.microsoft.com/office/drawing/2014/main" id="{8DAFB3E8-F17D-0145-B3D7-D9F9A58CEA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44175" y="4215680"/>
            <a:ext cx="2186319" cy="15397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70" name="Marcador de texto 7">
            <a:extLst>
              <a:ext uri="{FF2B5EF4-FFF2-40B4-BE49-F238E27FC236}">
                <a16:creationId xmlns:a16="http://schemas.microsoft.com/office/drawing/2014/main" id="{69AEA284-6214-104E-8E27-8BB480AF74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4175" y="3126783"/>
            <a:ext cx="1257300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0">
                <a:solidFill>
                  <a:schemeClr val="bg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71" name="Marcador de texto 7">
            <a:extLst>
              <a:ext uri="{FF2B5EF4-FFF2-40B4-BE49-F238E27FC236}">
                <a16:creationId xmlns:a16="http://schemas.microsoft.com/office/drawing/2014/main" id="{38C79E41-A17D-4B48-8B91-1215DC2A1A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44175" y="3685649"/>
            <a:ext cx="1440000" cy="25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72" name="Rectángulo">
            <a:extLst>
              <a:ext uri="{FF2B5EF4-FFF2-40B4-BE49-F238E27FC236}">
                <a16:creationId xmlns:a16="http://schemas.microsoft.com/office/drawing/2014/main" id="{34114B99-D22D-E64B-9FCB-2F541FEA6055}"/>
              </a:ext>
            </a:extLst>
          </p:cNvPr>
          <p:cNvSpPr/>
          <p:nvPr userDrawn="1"/>
        </p:nvSpPr>
        <p:spPr>
          <a:xfrm>
            <a:off x="6138863" y="3427828"/>
            <a:ext cx="2736057" cy="34301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400" tIns="25400" rIns="25400" bIns="25400" anchor="ctr"/>
          <a:lstStyle/>
          <a:p>
            <a:pPr algn="ctr" defTabSz="913606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600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E6767AED-37F8-A841-8040-0EEB3BC4FF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12066" y="5036560"/>
            <a:ext cx="2186319" cy="15397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id="{55E7DFFB-09B1-2241-828E-6853EF3F21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12066" y="3947663"/>
            <a:ext cx="1257300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90" name="Marcador de texto 7">
            <a:extLst>
              <a:ext uri="{FF2B5EF4-FFF2-40B4-BE49-F238E27FC236}">
                <a16:creationId xmlns:a16="http://schemas.microsoft.com/office/drawing/2014/main" id="{A458015D-8739-2F48-BD8C-5FAB6F27784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12067" y="4506531"/>
            <a:ext cx="1440000" cy="2525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91" name="Rectángulo">
            <a:extLst>
              <a:ext uri="{FF2B5EF4-FFF2-40B4-BE49-F238E27FC236}">
                <a16:creationId xmlns:a16="http://schemas.microsoft.com/office/drawing/2014/main" id="{10682241-31DE-024D-A676-34E4EE3DCF6E}"/>
              </a:ext>
            </a:extLst>
          </p:cNvPr>
          <p:cNvSpPr/>
          <p:nvPr userDrawn="1"/>
        </p:nvSpPr>
        <p:spPr>
          <a:xfrm>
            <a:off x="8992900" y="3427828"/>
            <a:ext cx="2736057" cy="34301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400" tIns="25400" rIns="25400" bIns="25400" anchor="ctr"/>
          <a:lstStyle/>
          <a:p>
            <a:pPr algn="ctr" defTabSz="913606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600"/>
          </a:p>
        </p:txBody>
      </p:sp>
      <p:sp>
        <p:nvSpPr>
          <p:cNvPr id="92" name="Marcador de texto 7">
            <a:extLst>
              <a:ext uri="{FF2B5EF4-FFF2-40B4-BE49-F238E27FC236}">
                <a16:creationId xmlns:a16="http://schemas.microsoft.com/office/drawing/2014/main" id="{37B63F82-511B-904F-AE58-F9D3280955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8394" y="5036560"/>
            <a:ext cx="2186319" cy="15397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93" name="Marcador de texto 7">
            <a:extLst>
              <a:ext uri="{FF2B5EF4-FFF2-40B4-BE49-F238E27FC236}">
                <a16:creationId xmlns:a16="http://schemas.microsoft.com/office/drawing/2014/main" id="{1B33BBFE-9406-CE41-ACA3-CFE95C7448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38394" y="3947663"/>
            <a:ext cx="1257300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C874917F-D4AC-584B-91E6-BD1A3D307C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38394" y="4506531"/>
            <a:ext cx="1440000" cy="2525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3" name="Marcador de texto 7">
            <a:extLst>
              <a:ext uri="{FF2B5EF4-FFF2-40B4-BE49-F238E27FC236}">
                <a16:creationId xmlns:a16="http://schemas.microsoft.com/office/drawing/2014/main" id="{288B394B-59AC-3341-A03B-2871C2DCFA0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263" y="450851"/>
            <a:ext cx="717073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20</a:t>
            </a:r>
          </a:p>
        </p:txBody>
      </p:sp>
      <p:sp>
        <p:nvSpPr>
          <p:cNvPr id="24" name="Marcador de texto 7">
            <a:extLst>
              <a:ext uri="{FF2B5EF4-FFF2-40B4-BE49-F238E27FC236}">
                <a16:creationId xmlns:a16="http://schemas.microsoft.com/office/drawing/2014/main" id="{E3E80800-B2D5-BA49-99E7-7B7BA142D7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833693"/>
            <a:ext cx="717073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7FFFC22C-002A-634D-885D-15941E6B6411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88966529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3" pos="3874" userDrawn="1">
          <p15:clr>
            <a:srgbClr val="FBAE40"/>
          </p15:clr>
        </p15:guide>
        <p15:guide id="4" orient="horz" pos="1638" userDrawn="1">
          <p15:clr>
            <a:srgbClr val="FBAE40"/>
          </p15:clr>
        </p15:guide>
        <p15:guide id="5" pos="2071" userDrawn="1">
          <p15:clr>
            <a:srgbClr val="FBAE40"/>
          </p15:clr>
        </p15:guide>
        <p15:guide id="6" pos="5655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Imagen 38">
            <a:extLst>
              <a:ext uri="{FF2B5EF4-FFF2-40B4-BE49-F238E27FC236}">
                <a16:creationId xmlns:a16="http://schemas.microsoft.com/office/drawing/2014/main" id="{A18F745A-2F94-7047-844D-CB79FE04F5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22" name="Rectángulo">
            <a:extLst>
              <a:ext uri="{FF2B5EF4-FFF2-40B4-BE49-F238E27FC236}">
                <a16:creationId xmlns:a16="http://schemas.microsoft.com/office/drawing/2014/main" id="{924593A7-BA3B-134F-B552-3C8E240BE639}"/>
              </a:ext>
            </a:extLst>
          </p:cNvPr>
          <p:cNvSpPr/>
          <p:nvPr userDrawn="1"/>
        </p:nvSpPr>
        <p:spPr>
          <a:xfrm>
            <a:off x="436563" y="2598738"/>
            <a:ext cx="2736057" cy="428307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400" tIns="25400" rIns="25400" bIns="25400" anchor="ctr"/>
          <a:lstStyle/>
          <a:p>
            <a:pPr algn="ctr" defTabSz="913606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600"/>
          </a:p>
        </p:txBody>
      </p:sp>
      <p:sp>
        <p:nvSpPr>
          <p:cNvPr id="28" name="Marcador de texto 7">
            <a:extLst>
              <a:ext uri="{FF2B5EF4-FFF2-40B4-BE49-F238E27FC236}">
                <a16:creationId xmlns:a16="http://schemas.microsoft.com/office/drawing/2014/main" id="{F57E9CCB-4FEF-3B4C-BB29-A871DC96C8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6284" y="2870424"/>
            <a:ext cx="2336790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29" name="Marcador de texto 7">
            <a:extLst>
              <a:ext uri="{FF2B5EF4-FFF2-40B4-BE49-F238E27FC236}">
                <a16:creationId xmlns:a16="http://schemas.microsoft.com/office/drawing/2014/main" id="{D012B9D1-835B-7745-97E3-74B7D8ED94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6284" y="3429292"/>
            <a:ext cx="2336791" cy="123987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CL" dirty="0"/>
              <a:t>Texto Arial 16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0EA17AB2-535B-3E41-9012-14AE4DF3B69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76275" y="4852194"/>
            <a:ext cx="2336800" cy="1465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32" name="Rectángulo">
            <a:extLst>
              <a:ext uri="{FF2B5EF4-FFF2-40B4-BE49-F238E27FC236}">
                <a16:creationId xmlns:a16="http://schemas.microsoft.com/office/drawing/2014/main" id="{47872927-EDEB-034D-AB0F-40AD76882404}"/>
              </a:ext>
            </a:extLst>
          </p:cNvPr>
          <p:cNvSpPr/>
          <p:nvPr userDrawn="1"/>
        </p:nvSpPr>
        <p:spPr>
          <a:xfrm>
            <a:off x="3284826" y="2597944"/>
            <a:ext cx="2736057" cy="4283076"/>
          </a:xfrm>
          <a:prstGeom prst="rect">
            <a:avLst/>
          </a:prstGeom>
          <a:solidFill>
            <a:schemeClr val="tx1"/>
          </a:solidFill>
          <a:ln w="12700">
            <a:noFill/>
            <a:miter lim="400000"/>
          </a:ln>
        </p:spPr>
        <p:txBody>
          <a:bodyPr lIns="25400" tIns="25400" rIns="25400" bIns="25400" anchor="ctr"/>
          <a:lstStyle/>
          <a:p>
            <a:pPr algn="ctr" defTabSz="913606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600"/>
          </a:p>
        </p:txBody>
      </p:sp>
      <p:sp>
        <p:nvSpPr>
          <p:cNvPr id="33" name="Marcador de texto 7">
            <a:extLst>
              <a:ext uri="{FF2B5EF4-FFF2-40B4-BE49-F238E27FC236}">
                <a16:creationId xmlns:a16="http://schemas.microsoft.com/office/drawing/2014/main" id="{0DCF0A1D-0E92-3E4E-AE6C-06E920D6E6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3002" y="2870424"/>
            <a:ext cx="2336790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4" name="Marcador de texto 7">
            <a:extLst>
              <a:ext uri="{FF2B5EF4-FFF2-40B4-BE49-F238E27FC236}">
                <a16:creationId xmlns:a16="http://schemas.microsoft.com/office/drawing/2014/main" id="{6C423F7D-EEBF-3A44-B527-08BE6EB1B0E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13002" y="3429292"/>
            <a:ext cx="2336791" cy="123987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CL" dirty="0"/>
              <a:t>Texto Arial 16</a:t>
            </a:r>
          </a:p>
        </p:txBody>
      </p:sp>
      <p:sp>
        <p:nvSpPr>
          <p:cNvPr id="35" name="Marcador de posición de imagen 2">
            <a:extLst>
              <a:ext uri="{FF2B5EF4-FFF2-40B4-BE49-F238E27FC236}">
                <a16:creationId xmlns:a16="http://schemas.microsoft.com/office/drawing/2014/main" id="{93186F0C-C7B9-764C-B99E-96FA0437C4C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512993" y="4852194"/>
            <a:ext cx="2336800" cy="1465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36" name="Rectángulo">
            <a:extLst>
              <a:ext uri="{FF2B5EF4-FFF2-40B4-BE49-F238E27FC236}">
                <a16:creationId xmlns:a16="http://schemas.microsoft.com/office/drawing/2014/main" id="{43BC13CA-7E2D-6E45-8712-486D874903DD}"/>
              </a:ext>
            </a:extLst>
          </p:cNvPr>
          <p:cNvSpPr/>
          <p:nvPr userDrawn="1"/>
        </p:nvSpPr>
        <p:spPr>
          <a:xfrm>
            <a:off x="6138862" y="2597944"/>
            <a:ext cx="2736057" cy="428307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400" tIns="25400" rIns="25400" bIns="25400" anchor="ctr"/>
          <a:lstStyle/>
          <a:p>
            <a:pPr algn="ctr" defTabSz="913606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600"/>
          </a:p>
        </p:txBody>
      </p:sp>
      <p:sp>
        <p:nvSpPr>
          <p:cNvPr id="37" name="Marcador de texto 7">
            <a:extLst>
              <a:ext uri="{FF2B5EF4-FFF2-40B4-BE49-F238E27FC236}">
                <a16:creationId xmlns:a16="http://schemas.microsoft.com/office/drawing/2014/main" id="{B61C247D-37DA-1141-B436-E9CA5E4D93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80893" y="2870424"/>
            <a:ext cx="2336790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BBA61BC9-7FB0-9C4F-B8DC-AC4C5F1DD8D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80893" y="3429292"/>
            <a:ext cx="2336791" cy="123987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CL" dirty="0"/>
              <a:t>Texto Arial 16</a:t>
            </a:r>
          </a:p>
        </p:txBody>
      </p:sp>
      <p:sp>
        <p:nvSpPr>
          <p:cNvPr id="44" name="Marcador de posición de imagen 2">
            <a:extLst>
              <a:ext uri="{FF2B5EF4-FFF2-40B4-BE49-F238E27FC236}">
                <a16:creationId xmlns:a16="http://schemas.microsoft.com/office/drawing/2014/main" id="{57D13356-69C7-2542-A744-E65AE47B81E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80884" y="4852194"/>
            <a:ext cx="2336800" cy="1465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45" name="Rectángulo">
            <a:extLst>
              <a:ext uri="{FF2B5EF4-FFF2-40B4-BE49-F238E27FC236}">
                <a16:creationId xmlns:a16="http://schemas.microsoft.com/office/drawing/2014/main" id="{8FB68190-D7E3-B141-817A-FAF1FE4B4632}"/>
              </a:ext>
            </a:extLst>
          </p:cNvPr>
          <p:cNvSpPr/>
          <p:nvPr userDrawn="1"/>
        </p:nvSpPr>
        <p:spPr>
          <a:xfrm>
            <a:off x="8992899" y="2597944"/>
            <a:ext cx="2736057" cy="428307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400" tIns="25400" rIns="25400" bIns="25400" anchor="ctr"/>
          <a:lstStyle/>
          <a:p>
            <a:pPr algn="ctr" defTabSz="913606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600"/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id="{31421233-7F3D-574E-9B40-A3D57BE496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07220" y="2870424"/>
            <a:ext cx="2336791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7" name="Marcador de texto 7">
            <a:extLst>
              <a:ext uri="{FF2B5EF4-FFF2-40B4-BE49-F238E27FC236}">
                <a16:creationId xmlns:a16="http://schemas.microsoft.com/office/drawing/2014/main" id="{B2A73391-D262-9140-B309-BB12AA19FA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7221" y="3429292"/>
            <a:ext cx="2336791" cy="123987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CL" dirty="0"/>
              <a:t>Texto Arial 16</a:t>
            </a:r>
          </a:p>
        </p:txBody>
      </p:sp>
      <p:sp>
        <p:nvSpPr>
          <p:cNvPr id="48" name="Marcador de posición de imagen 2">
            <a:extLst>
              <a:ext uri="{FF2B5EF4-FFF2-40B4-BE49-F238E27FC236}">
                <a16:creationId xmlns:a16="http://schemas.microsoft.com/office/drawing/2014/main" id="{45275E7E-6C59-1249-AD15-26DA1036953E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207212" y="4852194"/>
            <a:ext cx="2336800" cy="1465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24" name="Marcador de texto 7">
            <a:extLst>
              <a:ext uri="{FF2B5EF4-FFF2-40B4-BE49-F238E27FC236}">
                <a16:creationId xmlns:a16="http://schemas.microsoft.com/office/drawing/2014/main" id="{722C3EDB-D738-E246-86EC-97C9B2ABBCA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263" y="450851"/>
            <a:ext cx="717073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20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id="{E2640798-A3FA-A14B-B083-0D0C4A2696AD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1" name="Marcador de texto 7">
            <a:extLst>
              <a:ext uri="{FF2B5EF4-FFF2-40B4-BE49-F238E27FC236}">
                <a16:creationId xmlns:a16="http://schemas.microsoft.com/office/drawing/2014/main" id="{78E7700C-5F84-EC46-AB3F-AE24E72EA1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833693"/>
            <a:ext cx="717073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57302267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3" pos="3874" userDrawn="1">
          <p15:clr>
            <a:srgbClr val="FBAE40"/>
          </p15:clr>
        </p15:guide>
        <p15:guide id="4" orient="horz" pos="1637" userDrawn="1">
          <p15:clr>
            <a:srgbClr val="FBAE40"/>
          </p15:clr>
        </p15:guide>
        <p15:guide id="5" pos="2071" userDrawn="1">
          <p15:clr>
            <a:srgbClr val="FBAE40"/>
          </p15:clr>
        </p15:guide>
        <p15:guide id="6" pos="5655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C6F6EF54-31B0-E446-AA5A-A0BC24DEC5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48457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C6F6EF54-31B0-E446-AA5A-A0BC24DEC5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358244" y="1629752"/>
            <a:ext cx="7354331" cy="46457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50463" y="1629752"/>
            <a:ext cx="3599023" cy="2235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50463" y="4039866"/>
            <a:ext cx="3599023" cy="2235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13" name="Marcador de texto 7">
            <a:extLst>
              <a:ext uri="{FF2B5EF4-FFF2-40B4-BE49-F238E27FC236}">
                <a16:creationId xmlns:a16="http://schemas.microsoft.com/office/drawing/2014/main" id="{89DAC31A-247A-D74E-952E-6F83C028789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9263" y="450851"/>
            <a:ext cx="717073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20</a:t>
            </a: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6B84409A-7DB1-0A42-A399-CF275092B3C7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6" name="Marcador de texto 7">
            <a:extLst>
              <a:ext uri="{FF2B5EF4-FFF2-40B4-BE49-F238E27FC236}">
                <a16:creationId xmlns:a16="http://schemas.microsoft.com/office/drawing/2014/main" id="{A4CA2FC6-6030-0F48-9007-ED1A1BEF55E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49263" y="833693"/>
            <a:ext cx="717073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:a16="http://schemas.microsoft.com/office/drawing/2014/main" id="{576392FD-B02F-5841-A6D5-3B95F612C7B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</p:spTree>
    <p:extLst>
      <p:ext uri="{BB962C8B-B14F-4D97-AF65-F5344CB8AC3E}">
        <p14:creationId xmlns:p14="http://schemas.microsoft.com/office/powerpoint/2010/main" val="244148170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52" userDrawn="1">
          <p15:clr>
            <a:srgbClr val="FBAE40"/>
          </p15:clr>
        </p15:guide>
        <p15:guide id="2" pos="370" userDrawn="1">
          <p15:clr>
            <a:srgbClr val="FBAE40"/>
          </p15:clr>
        </p15:guide>
        <p15:guide id="4" orient="horz" pos="391" userDrawn="1">
          <p15:clr>
            <a:srgbClr val="FBAE40"/>
          </p15:clr>
        </p15:guide>
        <p15:guide id="6" pos="7378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87375" y="635000"/>
            <a:ext cx="7085013" cy="5621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892257" y="63500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892257" y="355123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:a16="http://schemas.microsoft.com/office/drawing/2014/main" id="{53F0F98A-0BE7-C445-8A01-4DF67FEAEA39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</p:spTree>
    <p:extLst>
      <p:ext uri="{BB962C8B-B14F-4D97-AF65-F5344CB8AC3E}">
        <p14:creationId xmlns:p14="http://schemas.microsoft.com/office/powerpoint/2010/main" val="414629679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52" userDrawn="1">
          <p15:clr>
            <a:srgbClr val="FBAE40"/>
          </p15:clr>
        </p15:guide>
        <p15:guide id="2" pos="370" userDrawn="1">
          <p15:clr>
            <a:srgbClr val="FBAE40"/>
          </p15:clr>
        </p15:guide>
        <p15:guide id="4" orient="horz" pos="391" userDrawn="1">
          <p15:clr>
            <a:srgbClr val="FBAE40"/>
          </p15:clr>
        </p15:guide>
        <p15:guide id="6" pos="739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portada con patr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99B42066-7866-0240-9F49-E05D36DA944D}"/>
              </a:ext>
            </a:extLst>
          </p:cNvPr>
          <p:cNvSpPr/>
          <p:nvPr userDrawn="1"/>
        </p:nvSpPr>
        <p:spPr>
          <a:xfrm>
            <a:off x="9440333" y="0"/>
            <a:ext cx="2751667" cy="6858000"/>
          </a:xfrm>
          <a:prstGeom prst="rect">
            <a:avLst/>
          </a:prstGeom>
          <a:solidFill>
            <a:schemeClr val="tx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_tradnl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35C4F852-544B-1A44-835E-3F7740F060ED}"/>
              </a:ext>
            </a:extLst>
          </p:cNvPr>
          <p:cNvSpPr/>
          <p:nvPr userDrawn="1"/>
        </p:nvSpPr>
        <p:spPr>
          <a:xfrm>
            <a:off x="436563" y="1620837"/>
            <a:ext cx="11298310" cy="3618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_tradnl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 descr="Patrón de fondo&#10;&#10;Descripción generada automáticamente">
            <a:extLst>
              <a:ext uri="{FF2B5EF4-FFF2-40B4-BE49-F238E27FC236}">
                <a16:creationId xmlns:a16="http://schemas.microsoft.com/office/drawing/2014/main" id="{0CF543EF-BC20-D44B-8976-CAF21AF152C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6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564" y="1640436"/>
            <a:ext cx="11298310" cy="3596727"/>
          </a:xfrm>
          <a:prstGeom prst="rect">
            <a:avLst/>
          </a:prstGeom>
        </p:spPr>
      </p:pic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:a16="http://schemas.microsoft.com/office/drawing/2014/main" id="{FF98E1B1-3B0B-3241-93AC-BE8D1054EBCA}"/>
              </a:ext>
            </a:extLst>
          </p:cNvPr>
          <p:cNvSpPr txBox="1"/>
          <p:nvPr userDrawn="1"/>
        </p:nvSpPr>
        <p:spPr>
          <a:xfrm>
            <a:off x="10894936" y="5576309"/>
            <a:ext cx="943790" cy="5498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200" dirty="0" err="1">
                <a:solidFill>
                  <a:schemeClr val="bg1"/>
                </a:solidFill>
              </a:rPr>
              <a:t>Asociación</a:t>
            </a:r>
            <a:r>
              <a:rPr sz="1200" dirty="0">
                <a:solidFill>
                  <a:schemeClr val="bg1"/>
                </a:solidFill>
              </a:rPr>
              <a:t> </a:t>
            </a:r>
            <a:r>
              <a:rPr sz="1200" dirty="0" err="1">
                <a:solidFill>
                  <a:schemeClr val="bg1"/>
                </a:solidFill>
              </a:rPr>
              <a:t>Chilena</a:t>
            </a:r>
            <a:r>
              <a:rPr sz="1200" dirty="0">
                <a:solidFill>
                  <a:schemeClr val="bg1"/>
                </a:solidFill>
              </a:rPr>
              <a:t> de </a:t>
            </a:r>
            <a:r>
              <a:rPr sz="1200" dirty="0" err="1">
                <a:solidFill>
                  <a:schemeClr val="bg1"/>
                </a:solidFill>
              </a:rPr>
              <a:t>Seguridad</a:t>
            </a:r>
            <a:endParaRPr sz="1200" dirty="0">
              <a:solidFill>
                <a:schemeClr val="bg1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47905" y="6307024"/>
            <a:ext cx="1039662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3761" y="1865435"/>
            <a:ext cx="4837067" cy="176026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Arial Bold - 30 puntos</a:t>
            </a:r>
            <a:endParaRPr lang="es-CL" dirty="0"/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id="{46A82000-D5F4-8949-BD2C-BDC53F0D950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143702" y="550976"/>
            <a:ext cx="591171" cy="591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6907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73577CB4-5A03-9E4B-AB3D-120C9169EF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20190"/>
            <a:ext cx="4260960" cy="189972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000" b="1">
                <a:solidFill>
                  <a:schemeClr val="bg1"/>
                </a:solidFill>
                <a:highlight>
                  <a:srgbClr val="106737"/>
                </a:highlight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_tradnl" dirty="0"/>
              <a:t>Título presentación Máximo 3 líneas   Arial Bold - 30 puntos 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:a16="http://schemas.microsoft.com/office/drawing/2014/main" id="{8C7E3B29-93C0-E749-825D-83469FC29305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</p:spTree>
    <p:extLst>
      <p:ext uri="{BB962C8B-B14F-4D97-AF65-F5344CB8AC3E}">
        <p14:creationId xmlns:p14="http://schemas.microsoft.com/office/powerpoint/2010/main" val="209706860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Verde Achs_sin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7786604"/>
      </p:ext>
    </p:extLst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Verde Portadilla capitulo c titulo y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AE778524-FF3E-854B-8354-9055B254C1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5BF41120-3577-3941-A82D-7C6233072C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263" y="450851"/>
            <a:ext cx="7170738" cy="412918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20</a:t>
            </a:r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B47F1200-4BAC-544D-AD4A-E50005C1E72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882853"/>
            <a:ext cx="7170738" cy="35628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237DBFEE-C1AA-EC44-85DE-024019196ABD}"/>
              </a:ext>
            </a:extLst>
          </p:cNvPr>
          <p:cNvCxnSpPr>
            <a:cxnSpLocks/>
          </p:cNvCxnSpPr>
          <p:nvPr userDrawn="1"/>
        </p:nvCxnSpPr>
        <p:spPr>
          <a:xfrm>
            <a:off x="556518" y="1243517"/>
            <a:ext cx="1080000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1707466709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de Portadilla capitulo c titulo y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D995375A-BF6D-374E-9047-693FB87BEE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38646" y="452438"/>
            <a:ext cx="796227" cy="796227"/>
          </a:xfrm>
          <a:prstGeom prst="rect">
            <a:avLst/>
          </a:prstGeom>
        </p:spPr>
      </p:pic>
      <p:sp>
        <p:nvSpPr>
          <p:cNvPr id="3" name="Título 1">
            <a:extLst>
              <a:ext uri="{FF2B5EF4-FFF2-40B4-BE49-F238E27FC236}">
                <a16:creationId xmlns:a16="http://schemas.microsoft.com/office/drawing/2014/main" id="{543D02BF-D139-924D-9792-878836A73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080" y="710197"/>
            <a:ext cx="5917890" cy="1311643"/>
          </a:xfrm>
          <a:prstGeom prst="rect">
            <a:avLst/>
          </a:prstGeom>
        </p:spPr>
        <p:txBody>
          <a:bodyPr/>
          <a:lstStyle>
            <a:lvl1pPr>
              <a:lnSpc>
                <a:spcPts val="325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3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770328369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is-con titulo y texto">
    <p:bg>
      <p:bgPr>
        <a:solidFill>
          <a:srgbClr val="5E5E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643F07F7-0867-CD45-9983-D25FA61D8D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BD9B6F1-F225-3642-A507-6C25CF7337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07" y="1620838"/>
            <a:ext cx="11291094" cy="479821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00">
                <a:solidFill>
                  <a:schemeClr val="bg1"/>
                </a:solidFill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chemeClr val="bg1"/>
                </a:solidFill>
              </a:defRPr>
            </a:lvl3pPr>
            <a:lvl4pPr marL="1342232" indent="-33258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chemeClr val="bg1"/>
                </a:solidFill>
              </a:defRPr>
            </a:lvl4pPr>
            <a:lvl5pPr marL="1675607" indent="-36433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>
                <a:tab pos="1571625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ólo texto Arial 16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-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10FFEFCF-A246-054D-A242-68285F828B8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263" y="450851"/>
            <a:ext cx="717073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20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47C786BA-5362-F647-93FC-6D915A4D1170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81AB755D-A841-FC4A-9371-6BBDCC322B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833693"/>
            <a:ext cx="717073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sp>
        <p:nvSpPr>
          <p:cNvPr id="9" name="Marcador de número de diapositiva 1">
            <a:extLst>
              <a:ext uri="{FF2B5EF4-FFF2-40B4-BE49-F238E27FC236}">
                <a16:creationId xmlns:a16="http://schemas.microsoft.com/office/drawing/2014/main" id="{B6005794-B1A7-8346-8A09-45216AB23D5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7471584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Cierre_cas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B5C6C5B5-87BA-BE43-A2F8-77EEFD06671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02453" y="2475025"/>
            <a:ext cx="1589958" cy="1907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970554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3117938"/>
              </p:ext>
            </p:ext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4" name="3 Objeto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n 5" descr="Imagen que contiene nombre de la empresa&#10;&#10;Descripción generada automáticamente">
            <a:extLst>
              <a:ext uri="{FF2B5EF4-FFF2-40B4-BE49-F238E27FC236}">
                <a16:creationId xmlns:a16="http://schemas.microsoft.com/office/drawing/2014/main" id="{20A0342B-5805-5D44-B673-DB8532F5CEE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4433" y="2468879"/>
            <a:ext cx="2541496" cy="1920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867919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88504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05410" y="5902056"/>
            <a:ext cx="5320002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14259" y="4199865"/>
            <a:ext cx="5361957" cy="130036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          Máximo 3 líneas                       Arial Bold - 30 puntos</a:t>
            </a:r>
            <a:endParaRPr lang="es-CL" dirty="0"/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id="{46A82000-D5F4-8949-BD2C-BDC53F0D950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954181" y="4258404"/>
            <a:ext cx="898386" cy="898386"/>
          </a:xfrm>
          <a:prstGeom prst="rect">
            <a:avLst/>
          </a:prstGeom>
        </p:spPr>
      </p:pic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AAD3EDA4-60A2-6D48-8A60-78FAD23C1DE5}"/>
              </a:ext>
            </a:extLst>
          </p:cNvPr>
          <p:cNvCxnSpPr>
            <a:cxnSpLocks/>
          </p:cNvCxnSpPr>
          <p:nvPr userDrawn="1"/>
        </p:nvCxnSpPr>
        <p:spPr>
          <a:xfrm>
            <a:off x="5344160" y="4269037"/>
            <a:ext cx="0" cy="2618429"/>
          </a:xfrm>
          <a:prstGeom prst="line">
            <a:avLst/>
          </a:prstGeom>
          <a:noFill/>
          <a:ln w="25400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3903988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 con log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8EDD70E6-9719-384C-98E1-944F830A10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</p:spTree>
    <p:extLst>
      <p:ext uri="{BB962C8B-B14F-4D97-AF65-F5344CB8AC3E}">
        <p14:creationId xmlns:p14="http://schemas.microsoft.com/office/powerpoint/2010/main" val="366688970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91" userDrawn="1">
          <p15:clr>
            <a:srgbClr val="FBAE40"/>
          </p15:clr>
        </p15:guide>
        <p15:guide id="2" orient="horz" pos="1548" userDrawn="1">
          <p15:clr>
            <a:srgbClr val="FBAE40"/>
          </p15:clr>
        </p15:guide>
        <p15:guide id="3" pos="1232" userDrawn="1">
          <p15:clr>
            <a:srgbClr val="FBAE40"/>
          </p15:clr>
        </p15:guide>
        <p15:guide id="4" pos="3281" userDrawn="1">
          <p15:clr>
            <a:srgbClr val="FBAE40"/>
          </p15:clr>
        </p15:guide>
        <p15:guide id="5" pos="5339" userDrawn="1">
          <p15:clr>
            <a:srgbClr val="FBAE40"/>
          </p15:clr>
        </p15:guide>
        <p15:guide id="6" orient="horz" pos="28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3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id="{5A6D60D2-2296-5945-875B-EFE4B97EFF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6820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id="{5A6D60D2-2296-5945-875B-EFE4B97EFF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480F94C3-E251-0A4D-B7E8-0D448B426F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28" y="458787"/>
            <a:ext cx="3528716" cy="720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0</a:t>
            </a:r>
            <a:endParaRPr lang="es-CL" dirty="0"/>
          </a:p>
        </p:txBody>
      </p:sp>
      <p:sp>
        <p:nvSpPr>
          <p:cNvPr id="13" name="Marcador de texto 7">
            <a:extLst>
              <a:ext uri="{FF2B5EF4-FFF2-40B4-BE49-F238E27FC236}">
                <a16:creationId xmlns:a16="http://schemas.microsoft.com/office/drawing/2014/main" id="{E2B3526A-E352-6B42-9A86-8AA9AFCEC9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43488" y="1753128"/>
            <a:ext cx="5361957" cy="7537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1B703A3D-4A7A-A34D-8B38-7D59E6C8C6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43488" y="3543046"/>
            <a:ext cx="5361957" cy="7537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8D533A59-3325-A644-A68A-14B901EDBB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43488" y="5289304"/>
            <a:ext cx="5361957" cy="7537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id="{F3B3F3D2-0F92-234D-B1C3-EAD24852DDCD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0" name="Línea">
            <a:extLst>
              <a:ext uri="{FF2B5EF4-FFF2-40B4-BE49-F238E27FC236}">
                <a16:creationId xmlns:a16="http://schemas.microsoft.com/office/drawing/2014/main" id="{ACAFD732-0024-AB4A-B6C4-1C266EDA27A5}"/>
              </a:ext>
            </a:extLst>
          </p:cNvPr>
          <p:cNvSpPr/>
          <p:nvPr userDrawn="1"/>
        </p:nvSpPr>
        <p:spPr>
          <a:xfrm flipV="1">
            <a:off x="4889502" y="1855051"/>
            <a:ext cx="0" cy="5102340"/>
          </a:xfrm>
          <a:prstGeom prst="line">
            <a:avLst/>
          </a:prstGeom>
          <a:ln w="25400">
            <a:solidFill>
              <a:schemeClr val="tx1"/>
            </a:solidFill>
          </a:ln>
        </p:spPr>
        <p:txBody>
          <a:bodyPr lIns="22860" rIns="22860"/>
          <a:lstStyle/>
          <a:p>
            <a:pPr defTabSz="1218406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21" name="Círculo">
            <a:extLst>
              <a:ext uri="{FF2B5EF4-FFF2-40B4-BE49-F238E27FC236}">
                <a16:creationId xmlns:a16="http://schemas.microsoft.com/office/drawing/2014/main" id="{226E99C8-C103-A44C-975B-FAA291C5B817}"/>
              </a:ext>
            </a:extLst>
          </p:cNvPr>
          <p:cNvSpPr/>
          <p:nvPr userDrawn="1"/>
        </p:nvSpPr>
        <p:spPr>
          <a:xfrm>
            <a:off x="4825756" y="1808503"/>
            <a:ext cx="135624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2" name="Círculo">
            <a:extLst>
              <a:ext uri="{FF2B5EF4-FFF2-40B4-BE49-F238E27FC236}">
                <a16:creationId xmlns:a16="http://schemas.microsoft.com/office/drawing/2014/main" id="{6E4561DF-A601-CB46-8EC7-590DDB38AD6B}"/>
              </a:ext>
            </a:extLst>
          </p:cNvPr>
          <p:cNvSpPr/>
          <p:nvPr userDrawn="1"/>
        </p:nvSpPr>
        <p:spPr>
          <a:xfrm>
            <a:off x="4825756" y="3591818"/>
            <a:ext cx="135624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5" name="Círculo">
            <a:extLst>
              <a:ext uri="{FF2B5EF4-FFF2-40B4-BE49-F238E27FC236}">
                <a16:creationId xmlns:a16="http://schemas.microsoft.com/office/drawing/2014/main" id="{588AF64C-EC8A-E946-B69F-F94B0EDE600F}"/>
              </a:ext>
            </a:extLst>
          </p:cNvPr>
          <p:cNvSpPr/>
          <p:nvPr userDrawn="1"/>
        </p:nvSpPr>
        <p:spPr>
          <a:xfrm>
            <a:off x="4821690" y="5344706"/>
            <a:ext cx="135624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" name="Marcador de número de diapositiva 1">
            <a:extLst>
              <a:ext uri="{FF2B5EF4-FFF2-40B4-BE49-F238E27FC236}">
                <a16:creationId xmlns:a16="http://schemas.microsoft.com/office/drawing/2014/main" id="{F73F49AB-4F17-0C44-8DE0-127845E9897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</p:spTree>
    <p:extLst>
      <p:ext uri="{BB962C8B-B14F-4D97-AF65-F5344CB8AC3E}">
        <p14:creationId xmlns:p14="http://schemas.microsoft.com/office/powerpoint/2010/main" val="394338492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1216" userDrawn="1">
          <p15:clr>
            <a:srgbClr val="FBAE40"/>
          </p15:clr>
        </p15:guide>
        <p15:guide id="2" orient="horz" pos="2344" userDrawn="1">
          <p15:clr>
            <a:srgbClr val="FBAE40"/>
          </p15:clr>
        </p15:guide>
        <p15:guide id="3" orient="horz" pos="3373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  <p15:guide id="5" orient="horz" pos="2273" userDrawn="1">
          <p15:clr>
            <a:srgbClr val="FBAE40"/>
          </p15:clr>
        </p15:guide>
        <p15:guide id="6" orient="horz" pos="1146" userDrawn="1">
          <p15:clr>
            <a:srgbClr val="FBAE40"/>
          </p15:clr>
        </p15:guide>
        <p15:guide id="7" pos="3177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4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8C5653FB-0B55-DF49-89A0-7BB644B8B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95881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8C5653FB-0B55-DF49-89A0-7BB644B8BB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Línea">
            <a:extLst>
              <a:ext uri="{FF2B5EF4-FFF2-40B4-BE49-F238E27FC236}">
                <a16:creationId xmlns:a16="http://schemas.microsoft.com/office/drawing/2014/main" id="{832578E3-BC08-FD4F-8D2A-99D9B2768843}"/>
              </a:ext>
            </a:extLst>
          </p:cNvPr>
          <p:cNvSpPr/>
          <p:nvPr userDrawn="1"/>
        </p:nvSpPr>
        <p:spPr>
          <a:xfrm flipV="1">
            <a:off x="4889502" y="1855051"/>
            <a:ext cx="0" cy="5102340"/>
          </a:xfrm>
          <a:prstGeom prst="line">
            <a:avLst/>
          </a:prstGeom>
          <a:ln w="25400">
            <a:solidFill>
              <a:schemeClr val="tx1"/>
            </a:solidFill>
          </a:ln>
        </p:spPr>
        <p:txBody>
          <a:bodyPr lIns="22860" rIns="22860"/>
          <a:lstStyle/>
          <a:p>
            <a:pPr defTabSz="1218406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4" name="Círculo">
            <a:extLst>
              <a:ext uri="{FF2B5EF4-FFF2-40B4-BE49-F238E27FC236}">
                <a16:creationId xmlns:a16="http://schemas.microsoft.com/office/drawing/2014/main" id="{BBD7799B-2501-484A-BE95-7AFA110DBA90}"/>
              </a:ext>
            </a:extLst>
          </p:cNvPr>
          <p:cNvSpPr/>
          <p:nvPr userDrawn="1"/>
        </p:nvSpPr>
        <p:spPr>
          <a:xfrm>
            <a:off x="4825756" y="1793189"/>
            <a:ext cx="135624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9" name="Marcador de texto 7">
            <a:extLst>
              <a:ext uri="{FF2B5EF4-FFF2-40B4-BE49-F238E27FC236}">
                <a16:creationId xmlns:a16="http://schemas.microsoft.com/office/drawing/2014/main" id="{3D05D424-30B2-7E47-9AB6-C83E1B90EA12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55261" y="1739603"/>
            <a:ext cx="5361957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0" name="Marcador de texto 7">
            <a:extLst>
              <a:ext uri="{FF2B5EF4-FFF2-40B4-BE49-F238E27FC236}">
                <a16:creationId xmlns:a16="http://schemas.microsoft.com/office/drawing/2014/main" id="{8893FAC1-DC9D-9440-985E-77B4520EBDFC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5055261" y="2988571"/>
            <a:ext cx="5361957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1" name="Marcador de texto 7">
            <a:extLst>
              <a:ext uri="{FF2B5EF4-FFF2-40B4-BE49-F238E27FC236}">
                <a16:creationId xmlns:a16="http://schemas.microsoft.com/office/drawing/2014/main" id="{1CDC6F2A-CD43-DC44-B35F-7AD48BD85D36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5055261" y="4220038"/>
            <a:ext cx="5361957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2" name="Marcador de texto 7">
            <a:extLst>
              <a:ext uri="{FF2B5EF4-FFF2-40B4-BE49-F238E27FC236}">
                <a16:creationId xmlns:a16="http://schemas.microsoft.com/office/drawing/2014/main" id="{2E8EE67D-954B-1E4C-87F1-A82DF7427D5B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5055261" y="5451506"/>
            <a:ext cx="5361957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7" name="Título 1">
            <a:extLst>
              <a:ext uri="{FF2B5EF4-FFF2-40B4-BE49-F238E27FC236}">
                <a16:creationId xmlns:a16="http://schemas.microsoft.com/office/drawing/2014/main" id="{C27C4B29-5681-F840-AF4C-B53B095E23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28" y="458787"/>
            <a:ext cx="3528716" cy="720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0</a:t>
            </a:r>
            <a:endParaRPr lang="es-CL" dirty="0"/>
          </a:p>
        </p:txBody>
      </p: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3ED58160-D295-014E-8B1D-93C7813A7A43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6" name="Círculo">
            <a:extLst>
              <a:ext uri="{FF2B5EF4-FFF2-40B4-BE49-F238E27FC236}">
                <a16:creationId xmlns:a16="http://schemas.microsoft.com/office/drawing/2014/main" id="{26684165-1847-124A-8CE4-11A82C20E684}"/>
              </a:ext>
            </a:extLst>
          </p:cNvPr>
          <p:cNvSpPr/>
          <p:nvPr userDrawn="1"/>
        </p:nvSpPr>
        <p:spPr>
          <a:xfrm>
            <a:off x="4825756" y="3040099"/>
            <a:ext cx="135624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8" name="Círculo">
            <a:extLst>
              <a:ext uri="{FF2B5EF4-FFF2-40B4-BE49-F238E27FC236}">
                <a16:creationId xmlns:a16="http://schemas.microsoft.com/office/drawing/2014/main" id="{74EA298D-42E8-344C-8163-3E74A5E92824}"/>
              </a:ext>
            </a:extLst>
          </p:cNvPr>
          <p:cNvSpPr/>
          <p:nvPr userDrawn="1"/>
        </p:nvSpPr>
        <p:spPr>
          <a:xfrm>
            <a:off x="4825756" y="4273882"/>
            <a:ext cx="135624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9" name="Círculo">
            <a:extLst>
              <a:ext uri="{FF2B5EF4-FFF2-40B4-BE49-F238E27FC236}">
                <a16:creationId xmlns:a16="http://schemas.microsoft.com/office/drawing/2014/main" id="{26A67EF5-217F-5545-A3D7-AB10AB73A118}"/>
              </a:ext>
            </a:extLst>
          </p:cNvPr>
          <p:cNvSpPr/>
          <p:nvPr userDrawn="1"/>
        </p:nvSpPr>
        <p:spPr>
          <a:xfrm>
            <a:off x="4825756" y="5503291"/>
            <a:ext cx="135624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" name="Marcador de número de diapositiva 1">
            <a:extLst>
              <a:ext uri="{FF2B5EF4-FFF2-40B4-BE49-F238E27FC236}">
                <a16:creationId xmlns:a16="http://schemas.microsoft.com/office/drawing/2014/main" id="{4FA18335-D169-9344-A6C5-91AFEDE3035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</p:spTree>
    <p:extLst>
      <p:ext uri="{BB962C8B-B14F-4D97-AF65-F5344CB8AC3E}">
        <p14:creationId xmlns:p14="http://schemas.microsoft.com/office/powerpoint/2010/main" val="253289175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7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4" orient="horz" pos="1997" userDrawn="1">
          <p15:clr>
            <a:srgbClr val="FBAE40"/>
          </p15:clr>
        </p15:guide>
        <p15:guide id="6" orient="horz" pos="3550" userDrawn="1">
          <p15:clr>
            <a:srgbClr val="FBAE40"/>
          </p15:clr>
        </p15:guide>
        <p15:guide id="7" orient="horz" pos="1207" userDrawn="1">
          <p15:clr>
            <a:srgbClr val="FBAE40"/>
          </p15:clr>
        </p15:guide>
        <p15:guide id="8" orient="horz" pos="2160" userDrawn="1">
          <p15:clr>
            <a:srgbClr val="FBAE40"/>
          </p15:clr>
        </p15:guide>
        <p15:guide id="9" orient="horz" pos="1139" userDrawn="1">
          <p15:clr>
            <a:srgbClr val="FBAE40"/>
          </p15:clr>
        </p15:guide>
        <p15:guide id="10" orient="horz" pos="1915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5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B3CF53D-25D4-9646-AB92-B8AA4975E6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33782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B3CF53D-25D4-9646-AB92-B8AA4975E6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20" name="Título 1">
            <a:extLst>
              <a:ext uri="{FF2B5EF4-FFF2-40B4-BE49-F238E27FC236}">
                <a16:creationId xmlns:a16="http://schemas.microsoft.com/office/drawing/2014/main" id="{85F7771C-C889-3F4D-9422-EADBF00AF25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57128" y="458787"/>
            <a:ext cx="3528716" cy="720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0</a:t>
            </a:r>
            <a:endParaRPr lang="es-CL" dirty="0"/>
          </a:p>
        </p:txBody>
      </p:sp>
      <p:sp>
        <p:nvSpPr>
          <p:cNvPr id="22" name="Marcador de texto 7">
            <a:extLst>
              <a:ext uri="{FF2B5EF4-FFF2-40B4-BE49-F238E27FC236}">
                <a16:creationId xmlns:a16="http://schemas.microsoft.com/office/drawing/2014/main" id="{033F232C-1A9F-1C4B-B63A-72AD25EAD3C0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5683" y="1754566"/>
            <a:ext cx="5361957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3" name="Marcador de texto 7">
            <a:extLst>
              <a:ext uri="{FF2B5EF4-FFF2-40B4-BE49-F238E27FC236}">
                <a16:creationId xmlns:a16="http://schemas.microsoft.com/office/drawing/2014/main" id="{F6EA4AA6-F211-574A-BE31-1CA2875DC6C4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5065683" y="2718569"/>
            <a:ext cx="5361957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4" name="Marcador de texto 7">
            <a:extLst>
              <a:ext uri="{FF2B5EF4-FFF2-40B4-BE49-F238E27FC236}">
                <a16:creationId xmlns:a16="http://schemas.microsoft.com/office/drawing/2014/main" id="{863D69D1-EFC7-7243-988E-9B4FE12219E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65683" y="3682572"/>
            <a:ext cx="5361957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5" name="Marcador de texto 7">
            <a:extLst>
              <a:ext uri="{FF2B5EF4-FFF2-40B4-BE49-F238E27FC236}">
                <a16:creationId xmlns:a16="http://schemas.microsoft.com/office/drawing/2014/main" id="{C34B0237-B084-C74D-8391-D82249AAD0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65683" y="4646575"/>
            <a:ext cx="5361957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6" name="Marcador de texto 7">
            <a:extLst>
              <a:ext uri="{FF2B5EF4-FFF2-40B4-BE49-F238E27FC236}">
                <a16:creationId xmlns:a16="http://schemas.microsoft.com/office/drawing/2014/main" id="{826E294F-5837-2245-BE2D-D36BCA4C5A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65683" y="5610577"/>
            <a:ext cx="5361957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cxnSp>
        <p:nvCxnSpPr>
          <p:cNvPr id="28" name="Conector recto 27">
            <a:extLst>
              <a:ext uri="{FF2B5EF4-FFF2-40B4-BE49-F238E27FC236}">
                <a16:creationId xmlns:a16="http://schemas.microsoft.com/office/drawing/2014/main" id="{328CA6FF-8AB6-A846-8F9F-58E6916942EE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1" name="Línea">
            <a:extLst>
              <a:ext uri="{FF2B5EF4-FFF2-40B4-BE49-F238E27FC236}">
                <a16:creationId xmlns:a16="http://schemas.microsoft.com/office/drawing/2014/main" id="{2F0252DA-0526-E04B-A5AB-565A0999DFA9}"/>
              </a:ext>
            </a:extLst>
          </p:cNvPr>
          <p:cNvSpPr/>
          <p:nvPr userDrawn="1"/>
        </p:nvSpPr>
        <p:spPr>
          <a:xfrm flipV="1">
            <a:off x="4889502" y="1855051"/>
            <a:ext cx="0" cy="5102340"/>
          </a:xfrm>
          <a:prstGeom prst="line">
            <a:avLst/>
          </a:prstGeom>
          <a:ln w="25400">
            <a:solidFill>
              <a:schemeClr val="tx1"/>
            </a:solidFill>
          </a:ln>
        </p:spPr>
        <p:txBody>
          <a:bodyPr lIns="22860" rIns="22860"/>
          <a:lstStyle/>
          <a:p>
            <a:pPr defTabSz="1218406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32" name="Círculo">
            <a:extLst>
              <a:ext uri="{FF2B5EF4-FFF2-40B4-BE49-F238E27FC236}">
                <a16:creationId xmlns:a16="http://schemas.microsoft.com/office/drawing/2014/main" id="{5EBD3BAA-E338-E74B-B4DF-431734FDCD27}"/>
              </a:ext>
            </a:extLst>
          </p:cNvPr>
          <p:cNvSpPr/>
          <p:nvPr userDrawn="1"/>
        </p:nvSpPr>
        <p:spPr>
          <a:xfrm>
            <a:off x="4821690" y="1787239"/>
            <a:ext cx="135624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4" name="Círculo">
            <a:extLst>
              <a:ext uri="{FF2B5EF4-FFF2-40B4-BE49-F238E27FC236}">
                <a16:creationId xmlns:a16="http://schemas.microsoft.com/office/drawing/2014/main" id="{DB2D0711-71D5-FD4B-9481-A3307B3A6ACA}"/>
              </a:ext>
            </a:extLst>
          </p:cNvPr>
          <p:cNvSpPr/>
          <p:nvPr userDrawn="1"/>
        </p:nvSpPr>
        <p:spPr>
          <a:xfrm>
            <a:off x="4821690" y="5649226"/>
            <a:ext cx="135624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5" name="Círculo">
            <a:extLst>
              <a:ext uri="{FF2B5EF4-FFF2-40B4-BE49-F238E27FC236}">
                <a16:creationId xmlns:a16="http://schemas.microsoft.com/office/drawing/2014/main" id="{29E659B7-9E82-A14F-95D0-FF7ED8812D9C}"/>
              </a:ext>
            </a:extLst>
          </p:cNvPr>
          <p:cNvSpPr/>
          <p:nvPr userDrawn="1"/>
        </p:nvSpPr>
        <p:spPr>
          <a:xfrm>
            <a:off x="4822581" y="2766318"/>
            <a:ext cx="135624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6" name="Círculo">
            <a:extLst>
              <a:ext uri="{FF2B5EF4-FFF2-40B4-BE49-F238E27FC236}">
                <a16:creationId xmlns:a16="http://schemas.microsoft.com/office/drawing/2014/main" id="{73632F4F-FE52-304C-A320-85BDCD0F035B}"/>
              </a:ext>
            </a:extLst>
          </p:cNvPr>
          <p:cNvSpPr/>
          <p:nvPr userDrawn="1"/>
        </p:nvSpPr>
        <p:spPr>
          <a:xfrm>
            <a:off x="4821690" y="4693551"/>
            <a:ext cx="135624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7" name="Círculo">
            <a:extLst>
              <a:ext uri="{FF2B5EF4-FFF2-40B4-BE49-F238E27FC236}">
                <a16:creationId xmlns:a16="http://schemas.microsoft.com/office/drawing/2014/main" id="{8C591567-7AA5-CA4B-AAB8-A9F364E11F51}"/>
              </a:ext>
            </a:extLst>
          </p:cNvPr>
          <p:cNvSpPr/>
          <p:nvPr userDrawn="1"/>
        </p:nvSpPr>
        <p:spPr>
          <a:xfrm>
            <a:off x="4825756" y="3728343"/>
            <a:ext cx="135624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8" name="Marcador de número de diapositiva 1">
            <a:extLst>
              <a:ext uri="{FF2B5EF4-FFF2-40B4-BE49-F238E27FC236}">
                <a16:creationId xmlns:a16="http://schemas.microsoft.com/office/drawing/2014/main" id="{8F02C25E-E0A2-3D4A-834C-C91E9B0B28F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</p:spTree>
    <p:extLst>
      <p:ext uri="{BB962C8B-B14F-4D97-AF65-F5344CB8AC3E}">
        <p14:creationId xmlns:p14="http://schemas.microsoft.com/office/powerpoint/2010/main" val="206731929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3185" userDrawn="1">
          <p15:clr>
            <a:srgbClr val="FBAE40"/>
          </p15:clr>
        </p15:guide>
        <p15:guide id="9" orient="horz" pos="432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i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99C22FEA-59FA-1540-A939-F039EF19BD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07570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99C22FEA-59FA-1540-A939-F039EF19BD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29" name="Marcador de texto 4">
            <a:extLst>
              <a:ext uri="{FF2B5EF4-FFF2-40B4-BE49-F238E27FC236}">
                <a16:creationId xmlns:a16="http://schemas.microsoft.com/office/drawing/2014/main" id="{D4D8DB34-4EB6-A44E-A2E9-0DDD94FE7C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2801" y="2474547"/>
            <a:ext cx="1541698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0" name="Marcador de texto 6">
            <a:extLst>
              <a:ext uri="{FF2B5EF4-FFF2-40B4-BE49-F238E27FC236}">
                <a16:creationId xmlns:a16="http://schemas.microsoft.com/office/drawing/2014/main" id="{5F4649B2-5AD6-AD4B-9530-EB8FA0B798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2809" y="3678861"/>
            <a:ext cx="1541698" cy="124777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1">
                <a:solidFill>
                  <a:schemeClr val="bg2"/>
                </a:solidFill>
              </a:defRPr>
            </a:lvl1pPr>
            <a:lvl2pPr marL="304800" indent="0">
              <a:buNone/>
              <a:defRPr sz="1500">
                <a:solidFill>
                  <a:schemeClr val="tx2"/>
                </a:solidFill>
              </a:defRPr>
            </a:lvl2pPr>
            <a:lvl3pPr marL="609600" indent="0">
              <a:buNone/>
              <a:defRPr sz="1500">
                <a:solidFill>
                  <a:schemeClr val="tx2"/>
                </a:solidFill>
              </a:defRPr>
            </a:lvl3pPr>
            <a:lvl4pPr marL="914400" indent="0">
              <a:buNone/>
              <a:defRPr sz="1500">
                <a:solidFill>
                  <a:schemeClr val="tx2"/>
                </a:solidFill>
              </a:defRPr>
            </a:lvl4pPr>
            <a:lvl5pPr marL="1219200" indent="0">
              <a:buNone/>
              <a:defRPr sz="1500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Bold 16</a:t>
            </a:r>
            <a:endParaRPr lang="es-CL" dirty="0"/>
          </a:p>
        </p:txBody>
      </p:sp>
      <p:sp>
        <p:nvSpPr>
          <p:cNvPr id="33" name="Marcador de texto 4">
            <a:extLst>
              <a:ext uri="{FF2B5EF4-FFF2-40B4-BE49-F238E27FC236}">
                <a16:creationId xmlns:a16="http://schemas.microsoft.com/office/drawing/2014/main" id="{6FA40A4D-EF21-A64B-BF59-22654E0FC5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4708" y="2474547"/>
            <a:ext cx="1538120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4" name="Marcador de texto 6">
            <a:extLst>
              <a:ext uri="{FF2B5EF4-FFF2-40B4-BE49-F238E27FC236}">
                <a16:creationId xmlns:a16="http://schemas.microsoft.com/office/drawing/2014/main" id="{C2173465-02A7-5A42-9000-8BF6B7BE71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1582" y="3678861"/>
            <a:ext cx="1541698" cy="124777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 sz="1500">
                <a:solidFill>
                  <a:schemeClr val="tx2"/>
                </a:solidFill>
              </a:defRPr>
            </a:lvl2pPr>
            <a:lvl3pPr marL="609600" indent="0">
              <a:buNone/>
              <a:defRPr sz="1500">
                <a:solidFill>
                  <a:schemeClr val="tx2"/>
                </a:solidFill>
              </a:defRPr>
            </a:lvl3pPr>
            <a:lvl4pPr marL="914400" indent="0">
              <a:buNone/>
              <a:defRPr sz="1500">
                <a:solidFill>
                  <a:schemeClr val="tx2"/>
                </a:solidFill>
              </a:defRPr>
            </a:lvl4pPr>
            <a:lvl5pPr marL="1219200" indent="0">
              <a:buNone/>
              <a:defRPr sz="1500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6</a:t>
            </a:r>
          </a:p>
        </p:txBody>
      </p:sp>
      <p:sp>
        <p:nvSpPr>
          <p:cNvPr id="37" name="Marcador de texto 4">
            <a:extLst>
              <a:ext uri="{FF2B5EF4-FFF2-40B4-BE49-F238E27FC236}">
                <a16:creationId xmlns:a16="http://schemas.microsoft.com/office/drawing/2014/main" id="{74DCED2A-9C58-454A-8FD8-C41F485815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85034" y="2474547"/>
            <a:ext cx="1532753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8" name="Marcador de texto 6">
            <a:extLst>
              <a:ext uri="{FF2B5EF4-FFF2-40B4-BE49-F238E27FC236}">
                <a16:creationId xmlns:a16="http://schemas.microsoft.com/office/drawing/2014/main" id="{6538BA82-AE2C-E44B-A64C-98F8724D6B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82352" y="3678861"/>
            <a:ext cx="1541698" cy="124777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 sz="1500">
                <a:solidFill>
                  <a:schemeClr val="tx2"/>
                </a:solidFill>
              </a:defRPr>
            </a:lvl2pPr>
            <a:lvl3pPr marL="609600" indent="0">
              <a:buNone/>
              <a:defRPr sz="1500">
                <a:solidFill>
                  <a:schemeClr val="tx2"/>
                </a:solidFill>
              </a:defRPr>
            </a:lvl3pPr>
            <a:lvl4pPr marL="914400" indent="0">
              <a:buNone/>
              <a:defRPr sz="1500">
                <a:solidFill>
                  <a:schemeClr val="tx2"/>
                </a:solidFill>
              </a:defRPr>
            </a:lvl4pPr>
            <a:lvl5pPr marL="1219200" indent="0">
              <a:buNone/>
              <a:defRPr sz="1500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6</a:t>
            </a:r>
          </a:p>
        </p:txBody>
      </p:sp>
      <p:sp>
        <p:nvSpPr>
          <p:cNvPr id="41" name="Marcador de texto 4">
            <a:extLst>
              <a:ext uri="{FF2B5EF4-FFF2-40B4-BE49-F238E27FC236}">
                <a16:creationId xmlns:a16="http://schemas.microsoft.com/office/drawing/2014/main" id="{5E38B824-3D4A-4C46-8594-092BE3AC50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25618" y="2474547"/>
            <a:ext cx="1541693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42" name="Marcador de texto 6">
            <a:extLst>
              <a:ext uri="{FF2B5EF4-FFF2-40B4-BE49-F238E27FC236}">
                <a16:creationId xmlns:a16="http://schemas.microsoft.com/office/drawing/2014/main" id="{42923E17-3BCD-4148-B7F1-DC9E8DE35FD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28747" y="3678861"/>
            <a:ext cx="1541698" cy="124777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 sz="1500">
                <a:solidFill>
                  <a:schemeClr val="tx2"/>
                </a:solidFill>
              </a:defRPr>
            </a:lvl2pPr>
            <a:lvl3pPr marL="609600" indent="0">
              <a:buNone/>
              <a:defRPr sz="1500">
                <a:solidFill>
                  <a:schemeClr val="tx2"/>
                </a:solidFill>
              </a:defRPr>
            </a:lvl3pPr>
            <a:lvl4pPr marL="914400" indent="0">
              <a:buNone/>
              <a:defRPr sz="1500">
                <a:solidFill>
                  <a:schemeClr val="tx2"/>
                </a:solidFill>
              </a:defRPr>
            </a:lvl4pPr>
            <a:lvl5pPr marL="1219200" indent="0">
              <a:buNone/>
              <a:defRPr sz="1500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6</a:t>
            </a:r>
          </a:p>
        </p:txBody>
      </p:sp>
      <p:sp>
        <p:nvSpPr>
          <p:cNvPr id="45" name="Marcador de texto 4">
            <a:extLst>
              <a:ext uri="{FF2B5EF4-FFF2-40B4-BE49-F238E27FC236}">
                <a16:creationId xmlns:a16="http://schemas.microsoft.com/office/drawing/2014/main" id="{D0656489-C7FB-6E4C-BCFA-62074E56CF5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180951" y="2474547"/>
            <a:ext cx="1541694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46" name="Marcador de texto 6">
            <a:extLst>
              <a:ext uri="{FF2B5EF4-FFF2-40B4-BE49-F238E27FC236}">
                <a16:creationId xmlns:a16="http://schemas.microsoft.com/office/drawing/2014/main" id="{F1B36306-245B-3644-B2F3-99F2E4A0EE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180951" y="3678861"/>
            <a:ext cx="1541698" cy="124777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 sz="1500">
                <a:solidFill>
                  <a:schemeClr val="tx2"/>
                </a:solidFill>
              </a:defRPr>
            </a:lvl2pPr>
            <a:lvl3pPr marL="609600" indent="0">
              <a:buNone/>
              <a:defRPr sz="1500">
                <a:solidFill>
                  <a:schemeClr val="tx2"/>
                </a:solidFill>
              </a:defRPr>
            </a:lvl3pPr>
            <a:lvl4pPr marL="914400" indent="0">
              <a:buNone/>
              <a:defRPr sz="1500">
                <a:solidFill>
                  <a:schemeClr val="tx2"/>
                </a:solidFill>
              </a:defRPr>
            </a:lvl4pPr>
            <a:lvl5pPr marL="1219200" indent="0">
              <a:buNone/>
              <a:defRPr sz="1500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6</a:t>
            </a:r>
          </a:p>
        </p:txBody>
      </p:sp>
      <p:cxnSp>
        <p:nvCxnSpPr>
          <p:cNvPr id="31" name="Conector recto 30">
            <a:extLst>
              <a:ext uri="{FF2B5EF4-FFF2-40B4-BE49-F238E27FC236}">
                <a16:creationId xmlns:a16="http://schemas.microsoft.com/office/drawing/2014/main" id="{2B5E496B-C752-824B-90AB-16C0445ADA3D}"/>
              </a:ext>
            </a:extLst>
          </p:cNvPr>
          <p:cNvCxnSpPr>
            <a:cxnSpLocks/>
          </p:cNvCxnSpPr>
          <p:nvPr userDrawn="1"/>
        </p:nvCxnSpPr>
        <p:spPr>
          <a:xfrm>
            <a:off x="7446414" y="2474547"/>
            <a:ext cx="0" cy="245208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2" name="Conector recto 31">
            <a:extLst>
              <a:ext uri="{FF2B5EF4-FFF2-40B4-BE49-F238E27FC236}">
                <a16:creationId xmlns:a16="http://schemas.microsoft.com/office/drawing/2014/main" id="{C362018F-EA21-4C43-90C7-50DC98F19ABF}"/>
              </a:ext>
            </a:extLst>
          </p:cNvPr>
          <p:cNvCxnSpPr>
            <a:cxnSpLocks/>
          </p:cNvCxnSpPr>
          <p:nvPr userDrawn="1"/>
        </p:nvCxnSpPr>
        <p:spPr>
          <a:xfrm>
            <a:off x="5027334" y="2474547"/>
            <a:ext cx="0" cy="245208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5" name="Conector recto 34">
            <a:extLst>
              <a:ext uri="{FF2B5EF4-FFF2-40B4-BE49-F238E27FC236}">
                <a16:creationId xmlns:a16="http://schemas.microsoft.com/office/drawing/2014/main" id="{494AAB60-24B4-E74A-BE1B-C423918FE76E}"/>
              </a:ext>
            </a:extLst>
          </p:cNvPr>
          <p:cNvCxnSpPr>
            <a:cxnSpLocks/>
          </p:cNvCxnSpPr>
          <p:nvPr userDrawn="1"/>
        </p:nvCxnSpPr>
        <p:spPr>
          <a:xfrm>
            <a:off x="2608254" y="2474547"/>
            <a:ext cx="0" cy="245208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8A978983-138F-0340-AD4E-DF2CA4EC1DAD}"/>
              </a:ext>
            </a:extLst>
          </p:cNvPr>
          <p:cNvCxnSpPr>
            <a:cxnSpLocks/>
          </p:cNvCxnSpPr>
          <p:nvPr userDrawn="1"/>
        </p:nvCxnSpPr>
        <p:spPr>
          <a:xfrm>
            <a:off x="9901121" y="2474547"/>
            <a:ext cx="0" cy="245208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2" name="Título 1">
            <a:extLst>
              <a:ext uri="{FF2B5EF4-FFF2-40B4-BE49-F238E27FC236}">
                <a16:creationId xmlns:a16="http://schemas.microsoft.com/office/drawing/2014/main" id="{35480596-A12E-7440-85A2-9AF173247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28" y="458787"/>
            <a:ext cx="3528716" cy="720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0</a:t>
            </a:r>
            <a:endParaRPr lang="es-CL" dirty="0"/>
          </a:p>
        </p:txBody>
      </p:sp>
      <p:cxnSp>
        <p:nvCxnSpPr>
          <p:cNvPr id="23" name="Conector recto 22">
            <a:extLst>
              <a:ext uri="{FF2B5EF4-FFF2-40B4-BE49-F238E27FC236}">
                <a16:creationId xmlns:a16="http://schemas.microsoft.com/office/drawing/2014/main" id="{638D4AA4-B806-E144-BF08-A1B3773A6A20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4" name="Marcador de número de diapositiva 1">
            <a:extLst>
              <a:ext uri="{FF2B5EF4-FFF2-40B4-BE49-F238E27FC236}">
                <a16:creationId xmlns:a16="http://schemas.microsoft.com/office/drawing/2014/main" id="{A62BA8AF-38A5-5D4F-8563-B2CC53A243F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</p:spTree>
    <p:extLst>
      <p:ext uri="{BB962C8B-B14F-4D97-AF65-F5344CB8AC3E}">
        <p14:creationId xmlns:p14="http://schemas.microsoft.com/office/powerpoint/2010/main" val="315445330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1553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4" orient="horz" pos="278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2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DBAE7E76-845B-584D-B531-91749B1611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636389710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0" imgW="7772400" imgH="10058400" progId="TCLayout.ActiveDocument.1">
                  <p:embed/>
                </p:oleObj>
              </mc:Choice>
              <mc:Fallback>
                <p:oleObj name="Diapositiva de think-cell" r:id="rId40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DBAE7E76-845B-584D-B531-91749B1611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E5CB702D-97CE-8245-A808-2A62C34960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20177" y="6463752"/>
            <a:ext cx="18441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705" r:id="rId2"/>
    <p:sldLayoutId id="2147483710" r:id="rId3"/>
    <p:sldLayoutId id="2147483712" r:id="rId4"/>
    <p:sldLayoutId id="2147483691" r:id="rId5"/>
    <p:sldLayoutId id="2147483668" r:id="rId6"/>
    <p:sldLayoutId id="2147483669" r:id="rId7"/>
    <p:sldLayoutId id="2147483670" r:id="rId8"/>
    <p:sldLayoutId id="2147483672" r:id="rId9"/>
    <p:sldLayoutId id="2147483671" r:id="rId10"/>
    <p:sldLayoutId id="2147483679" r:id="rId11"/>
    <p:sldLayoutId id="2147483674" r:id="rId12"/>
    <p:sldLayoutId id="2147483708" r:id="rId13"/>
    <p:sldLayoutId id="2147483709" r:id="rId14"/>
    <p:sldLayoutId id="2147483673" r:id="rId15"/>
    <p:sldLayoutId id="2147483694" r:id="rId16"/>
    <p:sldLayoutId id="2147483675" r:id="rId17"/>
    <p:sldLayoutId id="2147483676" r:id="rId18"/>
    <p:sldLayoutId id="2147483678" r:id="rId19"/>
    <p:sldLayoutId id="2147483677" r:id="rId20"/>
    <p:sldLayoutId id="2147483695" r:id="rId21"/>
    <p:sldLayoutId id="2147483680" r:id="rId22"/>
    <p:sldLayoutId id="2147483681" r:id="rId23"/>
    <p:sldLayoutId id="2147483682" r:id="rId24"/>
    <p:sldLayoutId id="2147483683" r:id="rId25"/>
    <p:sldLayoutId id="2147483685" r:id="rId26"/>
    <p:sldLayoutId id="2147483686" r:id="rId27"/>
    <p:sldLayoutId id="2147483689" r:id="rId28"/>
    <p:sldLayoutId id="2147483690" r:id="rId29"/>
    <p:sldLayoutId id="2147483688" r:id="rId30"/>
    <p:sldLayoutId id="2147483667" r:id="rId31"/>
    <p:sldLayoutId id="2147483707" r:id="rId32"/>
    <p:sldLayoutId id="2147483697" r:id="rId33"/>
    <p:sldLayoutId id="2147483698" r:id="rId34"/>
    <p:sldLayoutId id="2147483706" r:id="rId35"/>
    <p:sldLayoutId id="2147483702" r:id="rId36"/>
    <p:sldLayoutId id="2147483713" r:id="rId37"/>
  </p:sldLayoutIdLst>
  <p:transition spd="med"/>
  <p:hf hdr="0" ftr="0" dt="0"/>
  <p:txStyles>
    <p:titleStyle>
      <a:lvl1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0" marR="0" indent="2286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0" marR="0" indent="4572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0" marR="0" indent="6858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0" marR="0" indent="9144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304800" marR="0" indent="-304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11176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14224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17272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20320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22606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24892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27178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29464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2286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4572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6858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9144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21" userDrawn="1">
          <p15:clr>
            <a:srgbClr val="F26B43"/>
          </p15:clr>
        </p15:guide>
        <p15:guide id="2" pos="7394" userDrawn="1">
          <p15:clr>
            <a:srgbClr val="F26B43"/>
          </p15:clr>
        </p15:guide>
        <p15:guide id="3" pos="275" userDrawn="1">
          <p15:clr>
            <a:srgbClr val="F26B43"/>
          </p15:clr>
        </p15:guide>
        <p15:guide id="4" orient="horz" pos="407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Relationship Id="rId9" Type="http://schemas.openxmlformats.org/officeDocument/2006/relationships/image" Target="../media/image4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4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emf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3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5.xml"/><Relationship Id="rId6" Type="http://schemas.openxmlformats.org/officeDocument/2006/relationships/image" Target="../media/image48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24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microsoft.com/office/2007/relationships/hdphoto" Target="../media/hdphoto1.wdp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6.xml"/><Relationship Id="rId6" Type="http://schemas.openxmlformats.org/officeDocument/2006/relationships/image" Target="../media/image49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25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image" Target="../media/image24.emf"/><Relationship Id="rId5" Type="http://schemas.openxmlformats.org/officeDocument/2006/relationships/tags" Target="../tags/tag31.xml"/><Relationship Id="rId10" Type="http://schemas.openxmlformats.org/officeDocument/2006/relationships/oleObject" Target="../embeddings/oleObject26.bin"/><Relationship Id="rId4" Type="http://schemas.openxmlformats.org/officeDocument/2006/relationships/tags" Target="../tags/tag30.xml"/><Relationship Id="rId9" Type="http://schemas.openxmlformats.org/officeDocument/2006/relationships/notesSlide" Target="../notesSlides/notesSlide10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image" Target="../media/image24.emf"/><Relationship Id="rId18" Type="http://schemas.openxmlformats.org/officeDocument/2006/relationships/image" Target="../media/image54.svg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oleObject" Target="../embeddings/oleObject27.bin"/><Relationship Id="rId17" Type="http://schemas.openxmlformats.org/officeDocument/2006/relationships/image" Target="../media/image53.png"/><Relationship Id="rId2" Type="http://schemas.openxmlformats.org/officeDocument/2006/relationships/tags" Target="../tags/tag35.xml"/><Relationship Id="rId16" Type="http://schemas.openxmlformats.org/officeDocument/2006/relationships/image" Target="../media/image52.svg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notesSlide" Target="../notesSlides/notesSlide11.xml"/><Relationship Id="rId5" Type="http://schemas.openxmlformats.org/officeDocument/2006/relationships/tags" Target="../tags/tag38.xml"/><Relationship Id="rId15" Type="http://schemas.openxmlformats.org/officeDocument/2006/relationships/image" Target="../media/image51.png"/><Relationship Id="rId10" Type="http://schemas.openxmlformats.org/officeDocument/2006/relationships/slideLayout" Target="../slideLayouts/slideLayout12.xml"/><Relationship Id="rId19" Type="http://schemas.openxmlformats.org/officeDocument/2006/relationships/image" Target="../media/image55.png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image" Target="../media/image50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2.xml"/><Relationship Id="rId13" Type="http://schemas.openxmlformats.org/officeDocument/2006/relationships/image" Target="../media/image58.png"/><Relationship Id="rId3" Type="http://schemas.openxmlformats.org/officeDocument/2006/relationships/tags" Target="../tags/tag45.xml"/><Relationship Id="rId7" Type="http://schemas.openxmlformats.org/officeDocument/2006/relationships/slideLayout" Target="../slideLayouts/slideLayout12.xml"/><Relationship Id="rId12" Type="http://schemas.openxmlformats.org/officeDocument/2006/relationships/image" Target="../media/image57.svg"/><Relationship Id="rId17" Type="http://schemas.openxmlformats.org/officeDocument/2006/relationships/image" Target="../media/image62.png"/><Relationship Id="rId2" Type="http://schemas.openxmlformats.org/officeDocument/2006/relationships/tags" Target="../tags/tag44.xml"/><Relationship Id="rId16" Type="http://schemas.openxmlformats.org/officeDocument/2006/relationships/image" Target="../media/image61.png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11" Type="http://schemas.openxmlformats.org/officeDocument/2006/relationships/image" Target="../media/image56.png"/><Relationship Id="rId5" Type="http://schemas.openxmlformats.org/officeDocument/2006/relationships/tags" Target="../tags/tag47.xml"/><Relationship Id="rId15" Type="http://schemas.openxmlformats.org/officeDocument/2006/relationships/image" Target="../media/image60.png"/><Relationship Id="rId10" Type="http://schemas.openxmlformats.org/officeDocument/2006/relationships/image" Target="../media/image24.emf"/><Relationship Id="rId4" Type="http://schemas.openxmlformats.org/officeDocument/2006/relationships/tags" Target="../tags/tag46.xml"/><Relationship Id="rId9" Type="http://schemas.openxmlformats.org/officeDocument/2006/relationships/oleObject" Target="../embeddings/oleObject28.bin"/><Relationship Id="rId14" Type="http://schemas.openxmlformats.org/officeDocument/2006/relationships/image" Target="../media/image59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9.x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29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0.xml"/><Relationship Id="rId6" Type="http://schemas.openxmlformats.org/officeDocument/2006/relationships/image" Target="../media/image63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30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65.sv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1.xml"/><Relationship Id="rId6" Type="http://schemas.openxmlformats.org/officeDocument/2006/relationships/image" Target="../media/image64.png"/><Relationship Id="rId5" Type="http://schemas.openxmlformats.org/officeDocument/2006/relationships/image" Target="../media/image24.emf"/><Relationship Id="rId10" Type="http://schemas.openxmlformats.org/officeDocument/2006/relationships/image" Target="../media/image68.png"/><Relationship Id="rId4" Type="http://schemas.openxmlformats.org/officeDocument/2006/relationships/oleObject" Target="../embeddings/oleObject31.bin"/><Relationship Id="rId9" Type="http://schemas.openxmlformats.org/officeDocument/2006/relationships/image" Target="../media/image67.gi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70.sv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2.xml"/><Relationship Id="rId6" Type="http://schemas.openxmlformats.org/officeDocument/2006/relationships/image" Target="../media/image69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32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emf"/><Relationship Id="rId3" Type="http://schemas.openxmlformats.org/officeDocument/2006/relationships/tags" Target="../tags/tag55.xml"/><Relationship Id="rId7" Type="http://schemas.openxmlformats.org/officeDocument/2006/relationships/oleObject" Target="../embeddings/oleObject33.bin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56.xml"/><Relationship Id="rId9" Type="http://schemas.openxmlformats.org/officeDocument/2006/relationships/image" Target="../media/image7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7.x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34.bin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svg"/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72.png"/><Relationship Id="rId12" Type="http://schemas.openxmlformats.org/officeDocument/2006/relationships/image" Target="../media/image77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8.xml"/><Relationship Id="rId6" Type="http://schemas.openxmlformats.org/officeDocument/2006/relationships/hyperlink" Target="https://www.achs.cl/portal/Paginas/Home.aspx" TargetMode="External"/><Relationship Id="rId11" Type="http://schemas.openxmlformats.org/officeDocument/2006/relationships/image" Target="../media/image76.png"/><Relationship Id="rId5" Type="http://schemas.openxmlformats.org/officeDocument/2006/relationships/image" Target="../media/image24.emf"/><Relationship Id="rId10" Type="http://schemas.openxmlformats.org/officeDocument/2006/relationships/image" Target="../media/image75.svg"/><Relationship Id="rId4" Type="http://schemas.openxmlformats.org/officeDocument/2006/relationships/oleObject" Target="../embeddings/oleObject35.bin"/><Relationship Id="rId9" Type="http://schemas.openxmlformats.org/officeDocument/2006/relationships/image" Target="../media/image74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78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9.xml"/><Relationship Id="rId6" Type="http://schemas.openxmlformats.org/officeDocument/2006/relationships/hyperlink" Target="https://www.achs.cl/portal/Paginas/Home.aspx" TargetMode="External"/><Relationship Id="rId11" Type="http://schemas.openxmlformats.org/officeDocument/2006/relationships/image" Target="../media/image82.png"/><Relationship Id="rId5" Type="http://schemas.openxmlformats.org/officeDocument/2006/relationships/image" Target="../media/image24.emf"/><Relationship Id="rId10" Type="http://schemas.openxmlformats.org/officeDocument/2006/relationships/image" Target="../media/image81.png"/><Relationship Id="rId4" Type="http://schemas.openxmlformats.org/officeDocument/2006/relationships/oleObject" Target="../embeddings/oleObject36.bin"/><Relationship Id="rId9" Type="http://schemas.openxmlformats.org/officeDocument/2006/relationships/image" Target="../media/image80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9.xml"/><Relationship Id="rId6" Type="http://schemas.openxmlformats.org/officeDocument/2006/relationships/image" Target="../media/image25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18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7.jpe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0.xml"/><Relationship Id="rId6" Type="http://schemas.openxmlformats.org/officeDocument/2006/relationships/image" Target="../media/image26.jpe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19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1.x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20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4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2.xml"/><Relationship Id="rId6" Type="http://schemas.openxmlformats.org/officeDocument/2006/relationships/diagramData" Target="../diagrams/data1.xml"/><Relationship Id="rId11" Type="http://schemas.openxmlformats.org/officeDocument/2006/relationships/image" Target="../media/image29.gif"/><Relationship Id="rId5" Type="http://schemas.openxmlformats.org/officeDocument/2006/relationships/image" Target="../media/image24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21.bin"/><Relationship Id="rId9" Type="http://schemas.openxmlformats.org/officeDocument/2006/relationships/diagramColors" Target="../diagrams/colors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3.xml"/><Relationship Id="rId6" Type="http://schemas.openxmlformats.org/officeDocument/2006/relationships/chart" Target="../charts/chart1.x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2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4.xml"/><Relationship Id="rId6" Type="http://schemas.openxmlformats.org/officeDocument/2006/relationships/image" Target="../media/image30.tmp"/><Relationship Id="rId5" Type="http://schemas.openxmlformats.org/officeDocument/2006/relationships/image" Target="../media/image24.emf"/><Relationship Id="rId4" Type="http://schemas.openxmlformats.org/officeDocument/2006/relationships/oleObject" Target="../embeddings/oleObject23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7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Marcador de texto 13">
            <a:extLst>
              <a:ext uri="{FF2B5EF4-FFF2-40B4-BE49-F238E27FC236}">
                <a16:creationId xmlns:a16="http://schemas.microsoft.com/office/drawing/2014/main" id="{6358C045-A725-5D43-8B3F-37773A2DA2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605410" y="5812847"/>
            <a:ext cx="5320002" cy="504365"/>
          </a:xfrm>
        </p:spPr>
        <p:txBody>
          <a:bodyPr/>
          <a:lstStyle/>
          <a:p>
            <a:r>
              <a:rPr lang="es-ES_tradnl" dirty="0"/>
              <a:t>Presentación para difusión interna en la empresa.</a:t>
            </a:r>
          </a:p>
        </p:txBody>
      </p:sp>
      <p:sp>
        <p:nvSpPr>
          <p:cNvPr id="17" name="Marcador de texto 16">
            <a:extLst>
              <a:ext uri="{FF2B5EF4-FFF2-40B4-BE49-F238E27FC236}">
                <a16:creationId xmlns:a16="http://schemas.microsoft.com/office/drawing/2014/main" id="{B225B6FB-289B-594B-91A3-8CE0063C4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605410" y="4199865"/>
            <a:ext cx="5960707" cy="1300367"/>
          </a:xfrm>
        </p:spPr>
        <p:txBody>
          <a:bodyPr/>
          <a:lstStyle/>
          <a:p>
            <a:pPr lvl="0" rtl="0"/>
            <a:r>
              <a:rPr lang="es-CL" sz="2400" dirty="0"/>
              <a:t>Protocolo de Trastornos musculoesqueléticos relacionados al trabajo (TMERT). Extremidades superiores</a:t>
            </a:r>
          </a:p>
          <a:p>
            <a:pPr marL="0" marR="0" lvl="0" indent="0" algn="l" defTabSz="1218406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688915657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4481" name="Rectangle 14"/>
          <p:cNvSpPr>
            <a:spLocks noChangeArrowheads="1"/>
          </p:cNvSpPr>
          <p:nvPr/>
        </p:nvSpPr>
        <p:spPr bwMode="auto">
          <a:xfrm>
            <a:off x="738417" y="465929"/>
            <a:ext cx="4172937" cy="626518"/>
          </a:xfrm>
          <a:prstGeom prst="rect">
            <a:avLst/>
          </a:prstGeom>
          <a:noFill/>
          <a:ln>
            <a:noFill/>
          </a:ln>
          <a:effectLst>
            <a:prstShdw prst="shdw13" dist="53882" dir="13500000">
              <a:schemeClr val="bg2">
                <a:alpha val="50000"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marL="342900" indent="-342900" eaLnBrk="0">
              <a:lnSpc>
                <a:spcPct val="140000"/>
              </a:lnSpc>
            </a:pPr>
            <a:r>
              <a:rPr lang="es-ES_tradnl" sz="2800" b="1" u="sng" dirty="0">
                <a:solidFill>
                  <a:srgbClr val="009900"/>
                </a:solidFill>
                <a:ea typeface="ＭＳ Ｐゴシック"/>
                <a:cs typeface="ＭＳ Ｐゴシック"/>
              </a:rPr>
              <a:t>Posturas</a:t>
            </a:r>
            <a:r>
              <a:rPr lang="es-ES_tradnl" sz="2000" b="1" dirty="0">
                <a:solidFill>
                  <a:srgbClr val="009900"/>
                </a:solidFill>
                <a:ea typeface="ＭＳ Ｐゴシック"/>
                <a:cs typeface="ＭＳ Ｐゴシック"/>
              </a:rPr>
              <a:t>: </a:t>
            </a:r>
            <a:r>
              <a:rPr lang="es-ES_tradnl" sz="2000" dirty="0">
                <a:solidFill>
                  <a:srgbClr val="009900"/>
                </a:solidFill>
                <a:ea typeface="ＭＳ Ｐゴシック"/>
                <a:cs typeface="ＭＳ Ｐゴシック"/>
              </a:rPr>
              <a:t>Extremidad superior</a:t>
            </a:r>
          </a:p>
        </p:txBody>
      </p:sp>
      <p:sp>
        <p:nvSpPr>
          <p:cNvPr id="31747" name="Rectangle 20"/>
          <p:cNvSpPr>
            <a:spLocks noChangeArrowheads="1"/>
          </p:cNvSpPr>
          <p:nvPr/>
        </p:nvSpPr>
        <p:spPr bwMode="auto">
          <a:xfrm>
            <a:off x="827626" y="1292742"/>
            <a:ext cx="8008938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defRPr/>
            </a:pPr>
            <a:r>
              <a:rPr lang="es-ES" sz="1600" i="1" dirty="0"/>
              <a:t>Las posturas son las posiciones de los segmentos corporales o articulaciones que se requieren para ejecutar la tarea veamos algunos ejemplos:</a:t>
            </a:r>
            <a:endParaRPr lang="es-ES" sz="400" i="1" dirty="0"/>
          </a:p>
        </p:txBody>
      </p:sp>
      <p:grpSp>
        <p:nvGrpSpPr>
          <p:cNvPr id="20" name="Google Shape;250;g9f514616ae_2_173">
            <a:extLst>
              <a:ext uri="{FF2B5EF4-FFF2-40B4-BE49-F238E27FC236}">
                <a16:creationId xmlns:a16="http://schemas.microsoft.com/office/drawing/2014/main" id="{47E26837-E463-4536-AC43-FD44B64FA307}"/>
              </a:ext>
            </a:extLst>
          </p:cNvPr>
          <p:cNvGrpSpPr/>
          <p:nvPr/>
        </p:nvGrpSpPr>
        <p:grpSpPr>
          <a:xfrm>
            <a:off x="1109382" y="2723003"/>
            <a:ext cx="5395197" cy="1680945"/>
            <a:chOff x="4954500" y="936950"/>
            <a:chExt cx="4163825" cy="1168425"/>
          </a:xfrm>
        </p:grpSpPr>
        <p:pic>
          <p:nvPicPr>
            <p:cNvPr id="21" name="Google Shape;251;g9f514616ae_2_173">
              <a:extLst>
                <a:ext uri="{FF2B5EF4-FFF2-40B4-BE49-F238E27FC236}">
                  <a16:creationId xmlns:a16="http://schemas.microsoft.com/office/drawing/2014/main" id="{339B7D38-99E9-4D25-A6F9-759208E74920}"/>
                </a:ext>
              </a:extLst>
            </p:cNvPr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6513000" y="941368"/>
              <a:ext cx="1066800" cy="109050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2" name="Google Shape;252;g9f514616ae_2_173">
              <a:extLst>
                <a:ext uri="{FF2B5EF4-FFF2-40B4-BE49-F238E27FC236}">
                  <a16:creationId xmlns:a16="http://schemas.microsoft.com/office/drawing/2014/main" id="{22732A28-4D99-4633-A31B-AF5448839D86}"/>
                </a:ext>
              </a:extLst>
            </p:cNvPr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7959250" y="940520"/>
              <a:ext cx="1159075" cy="109220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3" name="Google Shape;253;g9f514616ae_2_173">
              <a:extLst>
                <a:ext uri="{FF2B5EF4-FFF2-40B4-BE49-F238E27FC236}">
                  <a16:creationId xmlns:a16="http://schemas.microsoft.com/office/drawing/2014/main" id="{7DF62D7D-D3AF-4840-A4C1-B5B2B5D80755}"/>
                </a:ext>
              </a:extLst>
            </p:cNvPr>
            <p:cNvPicPr preferRelativeResize="0"/>
            <p:nvPr/>
          </p:nvPicPr>
          <p:blipFill>
            <a:blip r:embed="rId4">
              <a:alphaModFix/>
            </a:blip>
            <a:stretch>
              <a:fillRect/>
            </a:stretch>
          </p:blipFill>
          <p:spPr>
            <a:xfrm>
              <a:off x="4962960" y="936950"/>
              <a:ext cx="1159075" cy="109935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8" name="Google Shape;254;g9f514616ae_2_173">
              <a:extLst>
                <a:ext uri="{FF2B5EF4-FFF2-40B4-BE49-F238E27FC236}">
                  <a16:creationId xmlns:a16="http://schemas.microsoft.com/office/drawing/2014/main" id="{DBB564E9-0EAD-4DAD-A58C-C821142A050A}"/>
                </a:ext>
              </a:extLst>
            </p:cNvPr>
            <p:cNvSpPr txBox="1"/>
            <p:nvPr/>
          </p:nvSpPr>
          <p:spPr>
            <a:xfrm>
              <a:off x="4954500" y="1803575"/>
              <a:ext cx="1066800" cy="301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s-419" sz="1200"/>
                <a:t>Abducción</a:t>
              </a:r>
              <a:endParaRPr sz="1200"/>
            </a:p>
          </p:txBody>
        </p:sp>
        <p:sp>
          <p:nvSpPr>
            <p:cNvPr id="29" name="Google Shape;255;g9f514616ae_2_173">
              <a:extLst>
                <a:ext uri="{FF2B5EF4-FFF2-40B4-BE49-F238E27FC236}">
                  <a16:creationId xmlns:a16="http://schemas.microsoft.com/office/drawing/2014/main" id="{2E39613B-A826-4525-B908-240C9A65E0AA}"/>
                </a:ext>
              </a:extLst>
            </p:cNvPr>
            <p:cNvSpPr txBox="1"/>
            <p:nvPr/>
          </p:nvSpPr>
          <p:spPr>
            <a:xfrm>
              <a:off x="6609275" y="1803575"/>
              <a:ext cx="727200" cy="301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s-419" sz="1200"/>
                <a:t>Flexión</a:t>
              </a:r>
              <a:endParaRPr sz="1200"/>
            </a:p>
          </p:txBody>
        </p:sp>
        <p:sp>
          <p:nvSpPr>
            <p:cNvPr id="30" name="Google Shape;256;g9f514616ae_2_173">
              <a:extLst>
                <a:ext uri="{FF2B5EF4-FFF2-40B4-BE49-F238E27FC236}">
                  <a16:creationId xmlns:a16="http://schemas.microsoft.com/office/drawing/2014/main" id="{4531C94D-88DF-4613-863E-B269232504BC}"/>
                </a:ext>
              </a:extLst>
            </p:cNvPr>
            <p:cNvSpPr txBox="1"/>
            <p:nvPr/>
          </p:nvSpPr>
          <p:spPr>
            <a:xfrm>
              <a:off x="8147700" y="1803575"/>
              <a:ext cx="865200" cy="301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s-419" sz="1200"/>
                <a:t>Rotación</a:t>
              </a:r>
              <a:endParaRPr sz="1200"/>
            </a:p>
          </p:txBody>
        </p:sp>
      </p:grpSp>
      <p:pic>
        <p:nvPicPr>
          <p:cNvPr id="31" name="Google Shape;249;g9f514616ae_2_173">
            <a:extLst>
              <a:ext uri="{FF2B5EF4-FFF2-40B4-BE49-F238E27FC236}">
                <a16:creationId xmlns:a16="http://schemas.microsoft.com/office/drawing/2014/main" id="{97CAD6B6-A04C-42D9-BDB8-85878BD41262}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7103515" y="3331693"/>
            <a:ext cx="765025" cy="498629"/>
          </a:xfrm>
          <a:prstGeom prst="rect">
            <a:avLst/>
          </a:prstGeom>
          <a:noFill/>
          <a:ln>
            <a:noFill/>
          </a:ln>
        </p:spPr>
      </p:pic>
      <p:pic>
        <p:nvPicPr>
          <p:cNvPr id="32" name="Google Shape;257;g9f514616ae_2_173">
            <a:extLst>
              <a:ext uri="{FF2B5EF4-FFF2-40B4-BE49-F238E27FC236}">
                <a16:creationId xmlns:a16="http://schemas.microsoft.com/office/drawing/2014/main" id="{8E7E707F-D93A-4E09-B109-C12303778003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8065739" y="3317442"/>
            <a:ext cx="852050" cy="527119"/>
          </a:xfrm>
          <a:prstGeom prst="rect">
            <a:avLst/>
          </a:prstGeom>
          <a:noFill/>
          <a:ln>
            <a:noFill/>
          </a:ln>
        </p:spPr>
      </p:pic>
      <p:pic>
        <p:nvPicPr>
          <p:cNvPr id="33" name="Google Shape;258;g9f514616ae_2_173">
            <a:extLst>
              <a:ext uri="{FF2B5EF4-FFF2-40B4-BE49-F238E27FC236}">
                <a16:creationId xmlns:a16="http://schemas.microsoft.com/office/drawing/2014/main" id="{471FB654-4C6B-4CA6-8311-548B05BF7BE8}"/>
              </a:ext>
            </a:extLst>
          </p:cNvPr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9102490" y="3367643"/>
            <a:ext cx="852050" cy="396850"/>
          </a:xfrm>
          <a:prstGeom prst="rect">
            <a:avLst/>
          </a:prstGeom>
          <a:noFill/>
          <a:ln>
            <a:noFill/>
          </a:ln>
        </p:spPr>
      </p:pic>
      <p:pic>
        <p:nvPicPr>
          <p:cNvPr id="34" name="Google Shape;259;g9f514616ae_2_173">
            <a:extLst>
              <a:ext uri="{FF2B5EF4-FFF2-40B4-BE49-F238E27FC236}">
                <a16:creationId xmlns:a16="http://schemas.microsoft.com/office/drawing/2014/main" id="{ED5EAC64-943C-49B4-AE5F-C8E3ED5D7707}"/>
              </a:ext>
            </a:extLst>
          </p:cNvPr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10125865" y="3410091"/>
            <a:ext cx="1200050" cy="341825"/>
          </a:xfrm>
          <a:prstGeom prst="rect">
            <a:avLst/>
          </a:prstGeom>
          <a:noFill/>
          <a:ln>
            <a:noFill/>
          </a:ln>
        </p:spPr>
      </p:pic>
      <p:sp>
        <p:nvSpPr>
          <p:cNvPr id="35" name="Google Shape;260;g9f514616ae_2_173">
            <a:extLst>
              <a:ext uri="{FF2B5EF4-FFF2-40B4-BE49-F238E27FC236}">
                <a16:creationId xmlns:a16="http://schemas.microsoft.com/office/drawing/2014/main" id="{B2BC6561-012D-470E-9F35-AD98A2E1CB37}"/>
              </a:ext>
            </a:extLst>
          </p:cNvPr>
          <p:cNvSpPr txBox="1"/>
          <p:nvPr/>
        </p:nvSpPr>
        <p:spPr>
          <a:xfrm>
            <a:off x="7103515" y="3831693"/>
            <a:ext cx="1022400" cy="22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419" sz="1200"/>
              <a:t>Extensión</a:t>
            </a:r>
            <a:endParaRPr sz="1200"/>
          </a:p>
        </p:txBody>
      </p:sp>
      <p:sp>
        <p:nvSpPr>
          <p:cNvPr id="36" name="Google Shape;261;g9f514616ae_2_173">
            <a:extLst>
              <a:ext uri="{FF2B5EF4-FFF2-40B4-BE49-F238E27FC236}">
                <a16:creationId xmlns:a16="http://schemas.microsoft.com/office/drawing/2014/main" id="{F94B2511-B583-4DCF-9AF9-AA2638FB5046}"/>
              </a:ext>
            </a:extLst>
          </p:cNvPr>
          <p:cNvSpPr txBox="1"/>
          <p:nvPr/>
        </p:nvSpPr>
        <p:spPr>
          <a:xfrm>
            <a:off x="8094115" y="3831693"/>
            <a:ext cx="1022400" cy="22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419" sz="1200"/>
              <a:t>Supinación</a:t>
            </a:r>
            <a:endParaRPr sz="1200"/>
          </a:p>
        </p:txBody>
      </p:sp>
      <p:sp>
        <p:nvSpPr>
          <p:cNvPr id="37" name="Google Shape;262;g9f514616ae_2_173">
            <a:extLst>
              <a:ext uri="{FF2B5EF4-FFF2-40B4-BE49-F238E27FC236}">
                <a16:creationId xmlns:a16="http://schemas.microsoft.com/office/drawing/2014/main" id="{42C35936-A6A0-4D3E-95EA-B245E7717939}"/>
              </a:ext>
            </a:extLst>
          </p:cNvPr>
          <p:cNvSpPr txBox="1"/>
          <p:nvPr/>
        </p:nvSpPr>
        <p:spPr>
          <a:xfrm>
            <a:off x="9160915" y="3831693"/>
            <a:ext cx="1022400" cy="22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419" sz="1200"/>
              <a:t>Flexión</a:t>
            </a:r>
            <a:endParaRPr sz="1200"/>
          </a:p>
        </p:txBody>
      </p:sp>
      <p:sp>
        <p:nvSpPr>
          <p:cNvPr id="38" name="Google Shape;263;g9f514616ae_2_173">
            <a:extLst>
              <a:ext uri="{FF2B5EF4-FFF2-40B4-BE49-F238E27FC236}">
                <a16:creationId xmlns:a16="http://schemas.microsoft.com/office/drawing/2014/main" id="{95A577AC-642C-40B3-9C2B-D56CC26FA4B6}"/>
              </a:ext>
            </a:extLst>
          </p:cNvPr>
          <p:cNvSpPr txBox="1"/>
          <p:nvPr/>
        </p:nvSpPr>
        <p:spPr>
          <a:xfrm>
            <a:off x="10303915" y="3831693"/>
            <a:ext cx="1022400" cy="22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419" sz="1200"/>
              <a:t>Pronación</a:t>
            </a:r>
            <a:endParaRPr sz="1200"/>
          </a:p>
        </p:txBody>
      </p:sp>
      <p:pic>
        <p:nvPicPr>
          <p:cNvPr id="46" name="Google Shape;273;ga7200f8ae8_4_267">
            <a:extLst>
              <a:ext uri="{FF2B5EF4-FFF2-40B4-BE49-F238E27FC236}">
                <a16:creationId xmlns:a16="http://schemas.microsoft.com/office/drawing/2014/main" id="{A16521DB-F384-46B8-B10F-5218FEFA5B64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 t="63167" b="20163"/>
          <a:stretch/>
        </p:blipFill>
        <p:spPr>
          <a:xfrm>
            <a:off x="2651588" y="5007226"/>
            <a:ext cx="1094200" cy="857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7" name="Google Shape;274;ga7200f8ae8_4_267">
            <a:extLst>
              <a:ext uri="{FF2B5EF4-FFF2-40B4-BE49-F238E27FC236}">
                <a16:creationId xmlns:a16="http://schemas.microsoft.com/office/drawing/2014/main" id="{ECA21BA5-952F-4C1F-845F-60893B6D979D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 t="38149" b="41986"/>
          <a:stretch/>
        </p:blipFill>
        <p:spPr>
          <a:xfrm>
            <a:off x="1301476" y="4863463"/>
            <a:ext cx="1094200" cy="1021725"/>
          </a:xfrm>
          <a:prstGeom prst="rect">
            <a:avLst/>
          </a:prstGeom>
          <a:noFill/>
          <a:ln>
            <a:noFill/>
          </a:ln>
        </p:spPr>
      </p:pic>
      <p:sp>
        <p:nvSpPr>
          <p:cNvPr id="48" name="Google Shape;284;ga7200f8ae8_4_267">
            <a:extLst>
              <a:ext uri="{FF2B5EF4-FFF2-40B4-BE49-F238E27FC236}">
                <a16:creationId xmlns:a16="http://schemas.microsoft.com/office/drawing/2014/main" id="{9766D258-A96A-4D92-B656-A7574D138256}"/>
              </a:ext>
            </a:extLst>
          </p:cNvPr>
          <p:cNvSpPr txBox="1"/>
          <p:nvPr/>
        </p:nvSpPr>
        <p:spPr>
          <a:xfrm>
            <a:off x="1301538" y="5780451"/>
            <a:ext cx="1094100" cy="55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419" sz="1200"/>
              <a:t>Desviación Ulnar</a:t>
            </a:r>
            <a:endParaRPr sz="1200"/>
          </a:p>
        </p:txBody>
      </p:sp>
      <p:sp>
        <p:nvSpPr>
          <p:cNvPr id="49" name="Google Shape;285;ga7200f8ae8_4_267">
            <a:extLst>
              <a:ext uri="{FF2B5EF4-FFF2-40B4-BE49-F238E27FC236}">
                <a16:creationId xmlns:a16="http://schemas.microsoft.com/office/drawing/2014/main" id="{6CDF94D8-6945-43FC-A57C-2630784B521A}"/>
              </a:ext>
            </a:extLst>
          </p:cNvPr>
          <p:cNvSpPr txBox="1"/>
          <p:nvPr/>
        </p:nvSpPr>
        <p:spPr>
          <a:xfrm>
            <a:off x="2875249" y="5780451"/>
            <a:ext cx="1094100" cy="55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419" sz="1200" dirty="0"/>
              <a:t>Desviación Radial</a:t>
            </a:r>
            <a:endParaRPr sz="1200" dirty="0"/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C515CEBC-162A-415A-A5BC-7D759CB5A376}"/>
              </a:ext>
            </a:extLst>
          </p:cNvPr>
          <p:cNvSpPr/>
          <p:nvPr/>
        </p:nvSpPr>
        <p:spPr>
          <a:xfrm>
            <a:off x="5214005" y="5138184"/>
            <a:ext cx="5121595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s-ES" b="1" u="sng" dirty="0"/>
              <a:t>Postura forzada = sobrepasar el 50% del rango articular máximo</a:t>
            </a:r>
            <a:r>
              <a:rPr lang="es-ES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923362368"/>
      </p:ext>
    </p:extLst>
  </p:cSld>
  <p:clrMapOvr>
    <a:masterClrMapping/>
  </p:clrMapOvr>
  <p:transition spd="med">
    <p:wipe dir="d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649" name="Rectangle 14"/>
          <p:cNvSpPr>
            <a:spLocks noChangeArrowheads="1"/>
          </p:cNvSpPr>
          <p:nvPr/>
        </p:nvSpPr>
        <p:spPr bwMode="auto">
          <a:xfrm>
            <a:off x="996535" y="386690"/>
            <a:ext cx="1463862" cy="6265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marL="342900" indent="-342900" eaLnBrk="0">
              <a:lnSpc>
                <a:spcPct val="140000"/>
              </a:lnSpc>
            </a:pPr>
            <a:r>
              <a:rPr lang="es-ES_tradnl" sz="2800" b="1" u="sng" dirty="0">
                <a:solidFill>
                  <a:srgbClr val="009900"/>
                </a:solidFill>
                <a:ea typeface="ＭＳ Ｐゴシック"/>
                <a:cs typeface="ＭＳ Ｐゴシック"/>
              </a:rPr>
              <a:t>Fuerza:</a:t>
            </a:r>
          </a:p>
        </p:txBody>
      </p:sp>
      <p:sp>
        <p:nvSpPr>
          <p:cNvPr id="411650" name="Rectangle 16"/>
          <p:cNvSpPr>
            <a:spLocks noChangeArrowheads="1"/>
          </p:cNvSpPr>
          <p:nvPr/>
        </p:nvSpPr>
        <p:spPr bwMode="auto">
          <a:xfrm>
            <a:off x="1096896" y="1195689"/>
            <a:ext cx="9452158" cy="757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/>
            <a:r>
              <a:rPr lang="es-ES" sz="1600" dirty="0"/>
              <a:t>Esfuerzo físico que demanda trabajo muscular que puede o no sobrepasar la capacidad individual para realizar una acción técnica determinada o una secuencia de acciones, cuyo resultado puede significar la aparición de fatiga muscular. </a:t>
            </a:r>
          </a:p>
        </p:txBody>
      </p:sp>
      <p:pic>
        <p:nvPicPr>
          <p:cNvPr id="37892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299117" y="3000342"/>
            <a:ext cx="3462454" cy="2069704"/>
          </a:xfrm>
          <a:prstGeom prst="rect">
            <a:avLst/>
          </a:prstGeom>
          <a:noFill/>
          <a:ln>
            <a:solidFill>
              <a:srgbClr val="0070C0"/>
            </a:solidFill>
          </a:ln>
          <a:effectLst>
            <a:prstShdw prst="shdw13" dist="53882" dir="13500000">
              <a:schemeClr val="accent1">
                <a:gamma/>
                <a:shade val="60000"/>
                <a:invGamma/>
                <a:alpha val="50000"/>
              </a:schemeClr>
            </a:prstShdw>
          </a:effectLst>
        </p:spPr>
      </p:pic>
      <p:pic>
        <p:nvPicPr>
          <p:cNvPr id="5" name="Picture 1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37" t="33104" r="10283" b="9857"/>
          <a:stretch>
            <a:fillRect/>
          </a:stretch>
        </p:blipFill>
        <p:spPr bwMode="auto">
          <a:xfrm>
            <a:off x="5283642" y="2442117"/>
            <a:ext cx="5609241" cy="285083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1 CuadroTexto"/>
          <p:cNvSpPr txBox="1"/>
          <p:nvPr/>
        </p:nvSpPr>
        <p:spPr>
          <a:xfrm>
            <a:off x="5722614" y="5495237"/>
            <a:ext cx="5076564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Ø"/>
            </a:pPr>
            <a:r>
              <a:rPr lang="es-CL" sz="1600" b="1" dirty="0"/>
              <a:t>La escala de Borg permite estimar el esfuerzo necesario en un ciclo de trabajo</a:t>
            </a:r>
          </a:p>
        </p:txBody>
      </p:sp>
    </p:spTree>
    <p:extLst>
      <p:ext uri="{BB962C8B-B14F-4D97-AF65-F5344CB8AC3E}">
        <p14:creationId xmlns:p14="http://schemas.microsoft.com/office/powerpoint/2010/main" val="1778136608"/>
      </p:ext>
    </p:extLst>
  </p:cSld>
  <p:clrMapOvr>
    <a:masterClrMapping/>
  </p:clrMapOvr>
  <p:transition spd="med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3697" name="Rectangle 14"/>
          <p:cNvSpPr>
            <a:spLocks noChangeArrowheads="1"/>
          </p:cNvSpPr>
          <p:nvPr/>
        </p:nvSpPr>
        <p:spPr bwMode="auto">
          <a:xfrm>
            <a:off x="1135876" y="552064"/>
            <a:ext cx="4780476" cy="6265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marL="342900" indent="-342900" eaLnBrk="0">
              <a:lnSpc>
                <a:spcPct val="140000"/>
              </a:lnSpc>
            </a:pPr>
            <a:r>
              <a:rPr lang="es-ES_tradnl" sz="2800" b="1" u="sng" dirty="0">
                <a:solidFill>
                  <a:srgbClr val="009900"/>
                </a:solidFill>
                <a:ea typeface="ＭＳ Ｐゴシック"/>
                <a:cs typeface="ＭＳ Ｐゴシック"/>
              </a:rPr>
              <a:t>Tiempos de Recuperación</a:t>
            </a:r>
            <a:r>
              <a:rPr lang="es-ES_tradnl" sz="2800" b="1" dirty="0">
                <a:solidFill>
                  <a:srgbClr val="009900"/>
                </a:solidFill>
                <a:ea typeface="ＭＳ Ｐゴシック"/>
                <a:cs typeface="ＭＳ Ｐゴシック"/>
              </a:rPr>
              <a:t>:</a:t>
            </a:r>
          </a:p>
        </p:txBody>
      </p:sp>
      <p:sp>
        <p:nvSpPr>
          <p:cNvPr id="413698" name="Rectangle 1"/>
          <p:cNvSpPr>
            <a:spLocks noChangeArrowheads="1"/>
          </p:cNvSpPr>
          <p:nvPr/>
        </p:nvSpPr>
        <p:spPr bwMode="auto">
          <a:xfrm>
            <a:off x="1247389" y="1335535"/>
            <a:ext cx="9083335" cy="757130"/>
          </a:xfrm>
          <a:prstGeom prst="rect">
            <a:avLst/>
          </a:prstGeom>
          <a:noFill/>
          <a:ln>
            <a:noFill/>
          </a:ln>
          <a:effectLst>
            <a:prstShdw prst="shdw13" dist="53882" dir="13500000">
              <a:schemeClr val="bg2">
                <a:alpha val="50000"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 eaLnBrk="0" hangingPunct="0"/>
            <a:r>
              <a:rPr lang="es-CL" sz="1600" dirty="0">
                <a:cs typeface="Times New Roman" pitchFamily="18" charset="0"/>
              </a:rPr>
              <a:t>Los factores de riesgo organizacionales, como por ejemplo, la duración de las tareas, la duración de las jornadas de trabajo, los tiempos de descanso y recuperación, tipos de turno, tienen una incidencia importante en condicionar la exposición a factores de riesgo de TMERT-  EESS. </a:t>
            </a:r>
          </a:p>
        </p:txBody>
      </p:sp>
      <p:pic>
        <p:nvPicPr>
          <p:cNvPr id="5" name="Picture 2" descr="http://3.bp.blogspot.com/_yf-88FImDOQ/TPKbAjr4OhI/AAAAAAAAACs/mgwXJG5mlDY/s1600/happyhouris9to57_html_44bbcba5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9775" y="2191816"/>
            <a:ext cx="2667719" cy="2573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8 Grupo"/>
          <p:cNvGrpSpPr/>
          <p:nvPr/>
        </p:nvGrpSpPr>
        <p:grpSpPr>
          <a:xfrm>
            <a:off x="1247388" y="5235548"/>
            <a:ext cx="9083335" cy="864096"/>
            <a:chOff x="-46839" y="4689140"/>
            <a:chExt cx="9083335" cy="864096"/>
          </a:xfrm>
        </p:grpSpPr>
        <p:pic>
          <p:nvPicPr>
            <p:cNvPr id="22551" name="Picture 2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46839" y="4689140"/>
              <a:ext cx="9083335" cy="8640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3" name="2 Conector recto"/>
            <p:cNvCxnSpPr/>
            <p:nvPr/>
          </p:nvCxnSpPr>
          <p:spPr>
            <a:xfrm>
              <a:off x="6444208" y="4689140"/>
              <a:ext cx="360040" cy="0"/>
            </a:xfrm>
            <a:prstGeom prst="line">
              <a:avLst/>
            </a:prstGeom>
            <a:ln>
              <a:solidFill>
                <a:srgbClr val="0000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240280144"/>
      </p:ext>
    </p:extLst>
  </p:cSld>
  <p:clrMapOvr>
    <a:masterClrMapping/>
  </p:clrMapOvr>
  <p:transition spd="med">
    <p:wipe dir="d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C:\WINDOWS\Escritorio\Imagenes\1\CTDform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1412" y="903619"/>
            <a:ext cx="4829175" cy="457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9">
            <a:extLst>
              <a:ext uri="{FF2B5EF4-FFF2-40B4-BE49-F238E27FC236}">
                <a16:creationId xmlns:a16="http://schemas.microsoft.com/office/drawing/2014/main" id="{8CF5EB47-B28C-436A-96FD-6099F16C43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30601" y="5800959"/>
            <a:ext cx="6802970" cy="737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516" tIns="45258" rIns="90516" bIns="45258">
            <a:spAutoFit/>
          </a:bodyPr>
          <a:lstStyle/>
          <a:p>
            <a:pPr marL="339437" indent="-339437" algn="ctr" defTabSz="914400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</a:pPr>
            <a:r>
              <a:rPr lang="es-CL" sz="1400" b="1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A la combinación de estos factores de riesgo debemos adicionar el tiempo de exposición efectiva (dosis) y la forma en la cual se expone (continua, con pausas, etc.)</a:t>
            </a:r>
            <a:endParaRPr lang="en-US" sz="1400" b="1" dirty="0">
              <a:solidFill>
                <a:schemeClr val="tx2"/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687811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C37361C2-7D8D-F148-AE62-17BED1F4FE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C37361C2-7D8D-F148-AE62-17BED1F4FE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Marcador de texto 23">
            <a:extLst>
              <a:ext uri="{FF2B5EF4-FFF2-40B4-BE49-F238E27FC236}">
                <a16:creationId xmlns:a16="http://schemas.microsoft.com/office/drawing/2014/main" id="{42B9B605-B12F-6147-BFF4-BCAF18B25A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_tradnl" dirty="0"/>
              <a:t>Qué es el protocolo TMERT (extremidades superiores)</a:t>
            </a:r>
          </a:p>
        </p:txBody>
      </p:sp>
      <p:sp>
        <p:nvSpPr>
          <p:cNvPr id="25" name="Marcador de texto 24">
            <a:extLst>
              <a:ext uri="{FF2B5EF4-FFF2-40B4-BE49-F238E27FC236}">
                <a16:creationId xmlns:a16="http://schemas.microsoft.com/office/drawing/2014/main" id="{895E7C57-E423-7444-A1F9-CACBB7D8C0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s-ES_tradnl" dirty="0"/>
              <a:t>Normativa</a:t>
            </a:r>
          </a:p>
        </p:txBody>
      </p:sp>
      <p:sp>
        <p:nvSpPr>
          <p:cNvPr id="33" name="Marcador de número de diapositiva 32">
            <a:extLst>
              <a:ext uri="{FF2B5EF4-FFF2-40B4-BE49-F238E27FC236}">
                <a16:creationId xmlns:a16="http://schemas.microsoft.com/office/drawing/2014/main" id="{D771257B-5667-DF49-BB0E-ADFCDD355D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970979" y="6463752"/>
            <a:ext cx="1844164" cy="365125"/>
          </a:xfrm>
        </p:spPr>
        <p:txBody>
          <a:bodyPr/>
          <a:lstStyle/>
          <a:p>
            <a:fld id="{B37290F3-BA30-9341-A10E-737EC97582C1}" type="slidenum">
              <a:rPr lang="es-CL" smtClean="0"/>
              <a:pPr/>
              <a:t>14</a:t>
            </a:fld>
            <a:endParaRPr lang="es-CL" dirty="0"/>
          </a:p>
        </p:txBody>
      </p:sp>
      <p:sp>
        <p:nvSpPr>
          <p:cNvPr id="13" name="Marcador de contenido 2">
            <a:extLst>
              <a:ext uri="{FF2B5EF4-FFF2-40B4-BE49-F238E27FC236}">
                <a16:creationId xmlns:a16="http://schemas.microsoft.com/office/drawing/2014/main" id="{15038F41-C836-4F36-BC64-0D2E126A3B1D}"/>
              </a:ext>
            </a:extLst>
          </p:cNvPr>
          <p:cNvSpPr txBox="1">
            <a:spLocks/>
          </p:cNvSpPr>
          <p:nvPr/>
        </p:nvSpPr>
        <p:spPr>
          <a:xfrm>
            <a:off x="449263" y="1253331"/>
            <a:ext cx="9655709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A004A"/>
              </a:buClr>
              <a:buFont typeface="Wingdings" pitchFamily="2" charset="2"/>
              <a:buChar char="§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A004A"/>
              </a:buClr>
              <a:buFont typeface="Wingdings" pitchFamily="2" charset="2"/>
              <a:buChar char="§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A004A"/>
              </a:buClr>
              <a:buFont typeface="Wingdings" pitchFamily="2" charset="2"/>
              <a:buChar char="§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A004A"/>
              </a:buClr>
              <a:buFont typeface="Wingdings" pitchFamily="2" charset="2"/>
              <a:buChar char="§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A004A"/>
              </a:buClr>
              <a:buFont typeface="Wingdings" pitchFamily="2" charset="2"/>
              <a:buChar char="§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A004A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75000"/>
                  <a:lumOff val="25000"/>
                </a:sys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A004A"/>
              </a:buClr>
              <a:buSzTx/>
              <a:buNone/>
              <a:tabLst/>
              <a:defRPr/>
            </a:pP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rmativa legal generada por MINSAL para prevenir lesiones musculo esqueléticas de extremidades superiores en las empresas/instituciones</a:t>
            </a:r>
            <a:endParaRPr kumimoji="0" lang="es-CL" sz="1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75000"/>
                  <a:lumOff val="25000"/>
                </a:sys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7D9320BD-E045-4AFC-B3B3-C1444F0C6604}"/>
              </a:ext>
            </a:extLst>
          </p:cNvPr>
          <p:cNvSpPr/>
          <p:nvPr/>
        </p:nvSpPr>
        <p:spPr>
          <a:xfrm>
            <a:off x="449263" y="2837624"/>
            <a:ext cx="642937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 defTabSz="91440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es-ES" sz="1800" kern="1200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rPr>
              <a:t>Identifica y evalúa los factores de riesgo biomecánicos (repetición, postura, fuerza)  presentes en las tareas.</a:t>
            </a:r>
          </a:p>
          <a:p>
            <a:pPr marL="285750" indent="-285750" algn="just" defTabSz="91440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endParaRPr lang="es-ES" sz="1800" kern="1200" dirty="0">
              <a:solidFill>
                <a:prstClr val="black">
                  <a:lumMod val="75000"/>
                  <a:lumOff val="25000"/>
                </a:prstClr>
              </a:solidFill>
              <a:cs typeface="Arial" panose="020B0604020202020204" pitchFamily="34" charset="0"/>
            </a:endParaRPr>
          </a:p>
          <a:p>
            <a:pPr marL="285750" indent="-285750" algn="just" defTabSz="91440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es-ES" sz="1800" kern="1200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rPr>
              <a:t>Establece un programa de vigilancia de la salud para las personas en puestos con tareas criticas (rojas).</a:t>
            </a:r>
            <a:endParaRPr lang="es-CL" sz="1800" kern="1200" dirty="0">
              <a:solidFill>
                <a:prstClr val="black">
                  <a:lumMod val="75000"/>
                  <a:lumOff val="25000"/>
                </a:prstClr>
              </a:solidFill>
              <a:cs typeface="Arial" panose="020B0604020202020204" pitchFamily="34" charset="0"/>
            </a:endParaRPr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9CCAA173-372C-4465-9333-6147A68E66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1" y="2195924"/>
            <a:ext cx="2929720" cy="3798307"/>
          </a:xfrm>
          <a:prstGeom prst="rect">
            <a:avLst/>
          </a:prstGeom>
          <a:noFill/>
          <a:ln w="28575">
            <a:solidFill>
              <a:srgbClr val="0000FF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5025899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C37361C2-7D8D-F148-AE62-17BED1F4FE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C37361C2-7D8D-F148-AE62-17BED1F4FE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Marcador de texto 23">
            <a:extLst>
              <a:ext uri="{FF2B5EF4-FFF2-40B4-BE49-F238E27FC236}">
                <a16:creationId xmlns:a16="http://schemas.microsoft.com/office/drawing/2014/main" id="{42B9B605-B12F-6147-BFF4-BCAF18B25A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_tradnl" dirty="0"/>
              <a:t>Qué es el protocolo TMERT (extremidades superiores)</a:t>
            </a:r>
          </a:p>
        </p:txBody>
      </p:sp>
      <p:sp>
        <p:nvSpPr>
          <p:cNvPr id="25" name="Marcador de texto 24">
            <a:extLst>
              <a:ext uri="{FF2B5EF4-FFF2-40B4-BE49-F238E27FC236}">
                <a16:creationId xmlns:a16="http://schemas.microsoft.com/office/drawing/2014/main" id="{895E7C57-E423-7444-A1F9-CACBB7D8C0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s-ES_tradnl" dirty="0"/>
              <a:t>Alcance normativa</a:t>
            </a:r>
          </a:p>
        </p:txBody>
      </p:sp>
      <p:sp>
        <p:nvSpPr>
          <p:cNvPr id="33" name="Marcador de número de diapositiva 32">
            <a:extLst>
              <a:ext uri="{FF2B5EF4-FFF2-40B4-BE49-F238E27FC236}">
                <a16:creationId xmlns:a16="http://schemas.microsoft.com/office/drawing/2014/main" id="{D771257B-5667-DF49-BB0E-ADFCDD355D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970979" y="6463752"/>
            <a:ext cx="1844164" cy="365125"/>
          </a:xfrm>
        </p:spPr>
        <p:txBody>
          <a:bodyPr/>
          <a:lstStyle/>
          <a:p>
            <a:fld id="{B37290F3-BA30-9341-A10E-737EC97582C1}" type="slidenum">
              <a:rPr lang="es-CL" smtClean="0"/>
              <a:pPr/>
              <a:t>15</a:t>
            </a:fld>
            <a:endParaRPr lang="es-CL" dirty="0"/>
          </a:p>
        </p:txBody>
      </p:sp>
      <p:sp>
        <p:nvSpPr>
          <p:cNvPr id="9" name="Marcador de contenido 2">
            <a:extLst>
              <a:ext uri="{FF2B5EF4-FFF2-40B4-BE49-F238E27FC236}">
                <a16:creationId xmlns:a16="http://schemas.microsoft.com/office/drawing/2014/main" id="{F8DC9DC6-FB8F-49B2-B5C4-96EB5765C63A}"/>
              </a:ext>
            </a:extLst>
          </p:cNvPr>
          <p:cNvSpPr txBox="1">
            <a:spLocks/>
          </p:cNvSpPr>
          <p:nvPr/>
        </p:nvSpPr>
        <p:spPr>
          <a:xfrm>
            <a:off x="844879" y="2562572"/>
            <a:ext cx="3181893" cy="16989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A004A"/>
              </a:buClr>
              <a:buFont typeface="Wingdings" pitchFamily="2" charset="2"/>
              <a:buChar char="§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A004A"/>
              </a:buClr>
              <a:buFont typeface="Wingdings" pitchFamily="2" charset="2"/>
              <a:buChar char="§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A004A"/>
              </a:buClr>
              <a:buFont typeface="Wingdings" pitchFamily="2" charset="2"/>
              <a:buChar char="§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A004A"/>
              </a:buClr>
              <a:buFont typeface="Wingdings" pitchFamily="2" charset="2"/>
              <a:buChar char="§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A004A"/>
              </a:buClr>
              <a:buFont typeface="Wingdings" pitchFamily="2" charset="2"/>
              <a:buChar char="§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A004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s-CL" sz="1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dependiente del n° de trabajadore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A004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dependiente del nivel de riesgo de sus operaciones</a:t>
            </a:r>
            <a:endParaRPr kumimoji="0" lang="es-CL" sz="1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75000"/>
                  <a:lumOff val="25000"/>
                </a:sys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Marcador de contenido 2">
            <a:extLst>
              <a:ext uri="{FF2B5EF4-FFF2-40B4-BE49-F238E27FC236}">
                <a16:creationId xmlns:a16="http://schemas.microsoft.com/office/drawing/2014/main" id="{3E3A9376-5E9E-4755-9D4D-CCECD1AA1545}"/>
              </a:ext>
            </a:extLst>
          </p:cNvPr>
          <p:cNvSpPr txBox="1">
            <a:spLocks/>
          </p:cNvSpPr>
          <p:nvPr/>
        </p:nvSpPr>
        <p:spPr>
          <a:xfrm>
            <a:off x="844879" y="4877217"/>
            <a:ext cx="3549042" cy="16989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A004A"/>
              </a:buClr>
              <a:buFont typeface="Wingdings" pitchFamily="2" charset="2"/>
              <a:buChar char="§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A004A"/>
              </a:buClr>
              <a:buFont typeface="Wingdings" pitchFamily="2" charset="2"/>
              <a:buChar char="§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A004A"/>
              </a:buClr>
              <a:buFont typeface="Wingdings" pitchFamily="2" charset="2"/>
              <a:buChar char="§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A004A"/>
              </a:buClr>
              <a:buFont typeface="Wingdings" pitchFamily="2" charset="2"/>
              <a:buChar char="§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A004A"/>
              </a:buClr>
              <a:buFont typeface="Wingdings" pitchFamily="2" charset="2"/>
              <a:buChar char="§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A004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s-CL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onde exista uso de la extremidad superior</a:t>
            </a: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CDFA4D6E-B3BF-45AD-A75D-3DE282586D89}"/>
              </a:ext>
            </a:extLst>
          </p:cNvPr>
          <p:cNvSpPr/>
          <p:nvPr/>
        </p:nvSpPr>
        <p:spPr>
          <a:xfrm>
            <a:off x="988895" y="1953325"/>
            <a:ext cx="282981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 hangingPunct="1">
              <a:lnSpc>
                <a:spcPct val="100000"/>
              </a:lnSpc>
              <a:spcBef>
                <a:spcPts val="0"/>
              </a:spcBef>
            </a:pPr>
            <a:r>
              <a:rPr lang="es-CL" sz="2000" b="1" kern="1200" dirty="0">
                <a:solidFill>
                  <a:srgbClr val="8A004A"/>
                </a:solidFill>
                <a:cs typeface="Arial" panose="020B0604020202020204" pitchFamily="34" charset="0"/>
              </a:rPr>
              <a:t>Todo tipo de empresa</a:t>
            </a: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F6D0EF81-F7F8-4AE2-BF06-BC4DE3D55532}"/>
              </a:ext>
            </a:extLst>
          </p:cNvPr>
          <p:cNvSpPr/>
          <p:nvPr/>
        </p:nvSpPr>
        <p:spPr>
          <a:xfrm>
            <a:off x="1008359" y="4291508"/>
            <a:ext cx="238738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 hangingPunct="1">
              <a:lnSpc>
                <a:spcPct val="100000"/>
              </a:lnSpc>
              <a:spcBef>
                <a:spcPts val="0"/>
              </a:spcBef>
            </a:pPr>
            <a:r>
              <a:rPr lang="es-CL" sz="2000" b="1" kern="1200" dirty="0">
                <a:solidFill>
                  <a:srgbClr val="8A004A"/>
                </a:solidFill>
                <a:cs typeface="Arial" panose="020B0604020202020204" pitchFamily="34" charset="0"/>
              </a:rPr>
              <a:t>Todo tipo de tarea</a:t>
            </a:r>
          </a:p>
        </p:txBody>
      </p:sp>
      <p:grpSp>
        <p:nvGrpSpPr>
          <p:cNvPr id="15" name="Agrupar 28">
            <a:extLst>
              <a:ext uri="{FF2B5EF4-FFF2-40B4-BE49-F238E27FC236}">
                <a16:creationId xmlns:a16="http://schemas.microsoft.com/office/drawing/2014/main" id="{2A94FBA5-298F-4B60-A985-20F6F76EF673}"/>
              </a:ext>
            </a:extLst>
          </p:cNvPr>
          <p:cNvGrpSpPr/>
          <p:nvPr/>
        </p:nvGrpSpPr>
        <p:grpSpPr>
          <a:xfrm>
            <a:off x="5102175" y="2594817"/>
            <a:ext cx="2146618" cy="2626215"/>
            <a:chOff x="491363" y="1816246"/>
            <a:chExt cx="3045091" cy="4089817"/>
          </a:xfrm>
        </p:grpSpPr>
        <p:pic>
          <p:nvPicPr>
            <p:cNvPr id="17" name="Picture 2" descr="Resultado de imagen para logo dekra">
              <a:extLst>
                <a:ext uri="{FF2B5EF4-FFF2-40B4-BE49-F238E27FC236}">
                  <a16:creationId xmlns:a16="http://schemas.microsoft.com/office/drawing/2014/main" id="{D705E75C-9561-4EA7-81EC-C994CC61BFE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6324" y="5580956"/>
              <a:ext cx="1041784" cy="297429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Rectángulo 17">
              <a:extLst>
                <a:ext uri="{FF2B5EF4-FFF2-40B4-BE49-F238E27FC236}">
                  <a16:creationId xmlns:a16="http://schemas.microsoft.com/office/drawing/2014/main" id="{FF44DA4B-6A44-4F63-954D-1C9329BBC545}"/>
                </a:ext>
              </a:extLst>
            </p:cNvPr>
            <p:cNvSpPr/>
            <p:nvPr/>
          </p:nvSpPr>
          <p:spPr>
            <a:xfrm>
              <a:off x="491363" y="1816246"/>
              <a:ext cx="3045091" cy="4089817"/>
            </a:xfrm>
            <a:prstGeom prst="rect">
              <a:avLst/>
            </a:prstGeom>
            <a:solidFill>
              <a:srgbClr val="F2E40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Rectangle 34">
              <a:extLst>
                <a:ext uri="{FF2B5EF4-FFF2-40B4-BE49-F238E27FC236}">
                  <a16:creationId xmlns:a16="http://schemas.microsoft.com/office/drawing/2014/main" id="{35FB6662-62E5-4CAF-B039-FABF6FD67AD5}"/>
                </a:ext>
              </a:extLst>
            </p:cNvPr>
            <p:cNvSpPr/>
            <p:nvPr/>
          </p:nvSpPr>
          <p:spPr>
            <a:xfrm>
              <a:off x="491364" y="3221323"/>
              <a:ext cx="2932076" cy="245642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7200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8D004C"/>
                </a:buClr>
                <a:buSzPct val="90000"/>
                <a:buFontTx/>
                <a:buNone/>
                <a:tabLst/>
                <a:defRPr/>
              </a:pPr>
              <a:endParaRPr kumimoji="0" lang="es-MX" sz="1400" b="1" i="0" u="none" strike="noStrike" kern="1200" cap="none" spc="0" normalizeH="0" baseline="0" noProof="0" dirty="0">
                <a:ln>
                  <a:noFill/>
                </a:ln>
                <a:solidFill>
                  <a:srgbClr val="004A52"/>
                </a:solidFill>
                <a:effectLst/>
                <a:uLnTx/>
                <a:uFillTx/>
                <a:cs typeface="Arial"/>
              </a:endParaRPr>
            </a:p>
            <a:p>
              <a:pPr marL="7200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8D004C"/>
                </a:buClr>
                <a:buSzPct val="90000"/>
                <a:buFontTx/>
                <a:buNone/>
                <a:tabLst/>
                <a:defRPr/>
              </a:pPr>
              <a:r>
                <a:rPr kumimoji="0" lang="es-E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cs typeface="Arial" panose="020B0604020202020204" pitchFamily="34" charset="0"/>
                </a:rPr>
                <a:t>Evaluar factores de riesgo asociados a TME de las extremidades superiores.</a:t>
              </a:r>
            </a:p>
          </p:txBody>
        </p:sp>
        <p:sp>
          <p:nvSpPr>
            <p:cNvPr id="20" name="CuadroTexto 19">
              <a:extLst>
                <a:ext uri="{FF2B5EF4-FFF2-40B4-BE49-F238E27FC236}">
                  <a16:creationId xmlns:a16="http://schemas.microsoft.com/office/drawing/2014/main" id="{7E13A860-965F-4B41-A72B-54E64FF0495E}"/>
                </a:ext>
              </a:extLst>
            </p:cNvPr>
            <p:cNvSpPr txBox="1"/>
            <p:nvPr/>
          </p:nvSpPr>
          <p:spPr>
            <a:xfrm>
              <a:off x="542489" y="1879137"/>
              <a:ext cx="1105945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7200" b="1" i="0" u="none" strike="noStrike" kern="1200" cap="none" spc="0" normalizeH="0" baseline="0" noProof="0" dirty="0">
                  <a:ln>
                    <a:noFill/>
                  </a:ln>
                  <a:solidFill>
                    <a:srgbClr val="004A52"/>
                  </a:solidFill>
                  <a:effectLst/>
                  <a:uLnTx/>
                  <a:uFillTx/>
                  <a:cs typeface="Arial"/>
                </a:rPr>
                <a:t>1</a:t>
              </a:r>
            </a:p>
          </p:txBody>
        </p:sp>
      </p:grpSp>
      <p:sp>
        <p:nvSpPr>
          <p:cNvPr id="21" name="Rectángulo 20">
            <a:extLst>
              <a:ext uri="{FF2B5EF4-FFF2-40B4-BE49-F238E27FC236}">
                <a16:creationId xmlns:a16="http://schemas.microsoft.com/office/drawing/2014/main" id="{3482C68A-7FBB-4043-B069-72D24912CABC}"/>
              </a:ext>
            </a:extLst>
          </p:cNvPr>
          <p:cNvSpPr/>
          <p:nvPr/>
        </p:nvSpPr>
        <p:spPr>
          <a:xfrm>
            <a:off x="5910566" y="1953325"/>
            <a:ext cx="448565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 hangingPunct="1">
              <a:lnSpc>
                <a:spcPct val="100000"/>
              </a:lnSpc>
              <a:spcBef>
                <a:spcPts val="0"/>
              </a:spcBef>
            </a:pPr>
            <a:r>
              <a:rPr lang="es-CL" sz="2000" b="1" kern="1200" dirty="0">
                <a:solidFill>
                  <a:srgbClr val="8A004A"/>
                </a:solidFill>
                <a:cs typeface="Arial" panose="020B0604020202020204" pitchFamily="34" charset="0"/>
              </a:rPr>
              <a:t>QUE DEBE HACER LA EMPRESA? </a:t>
            </a:r>
          </a:p>
        </p:txBody>
      </p:sp>
      <p:grpSp>
        <p:nvGrpSpPr>
          <p:cNvPr id="22" name="Agrupar 28">
            <a:extLst>
              <a:ext uri="{FF2B5EF4-FFF2-40B4-BE49-F238E27FC236}">
                <a16:creationId xmlns:a16="http://schemas.microsoft.com/office/drawing/2014/main" id="{CEB92600-00C8-475D-9ED1-1666EB93853C}"/>
              </a:ext>
            </a:extLst>
          </p:cNvPr>
          <p:cNvGrpSpPr/>
          <p:nvPr/>
        </p:nvGrpSpPr>
        <p:grpSpPr>
          <a:xfrm>
            <a:off x="7080083" y="2972635"/>
            <a:ext cx="2146618" cy="2626214"/>
            <a:chOff x="491363" y="1816246"/>
            <a:chExt cx="3045091" cy="4089817"/>
          </a:xfrm>
        </p:grpSpPr>
        <p:pic>
          <p:nvPicPr>
            <p:cNvPr id="23" name="Picture 2" descr="Resultado de imagen para logo dekra">
              <a:extLst>
                <a:ext uri="{FF2B5EF4-FFF2-40B4-BE49-F238E27FC236}">
                  <a16:creationId xmlns:a16="http://schemas.microsoft.com/office/drawing/2014/main" id="{FB497ADF-B520-44F7-9D4B-90EE98512E0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6324" y="5580956"/>
              <a:ext cx="1041784" cy="297429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" name="Rectángulo 25">
              <a:extLst>
                <a:ext uri="{FF2B5EF4-FFF2-40B4-BE49-F238E27FC236}">
                  <a16:creationId xmlns:a16="http://schemas.microsoft.com/office/drawing/2014/main" id="{311665A1-C5E1-4FBB-8E75-15F6FA5A757B}"/>
                </a:ext>
              </a:extLst>
            </p:cNvPr>
            <p:cNvSpPr/>
            <p:nvPr/>
          </p:nvSpPr>
          <p:spPr>
            <a:xfrm>
              <a:off x="491363" y="1816246"/>
              <a:ext cx="3045091" cy="4089817"/>
            </a:xfrm>
            <a:prstGeom prst="rect">
              <a:avLst/>
            </a:prstGeom>
            <a:solidFill>
              <a:srgbClr val="F2E40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Rectangle 34">
              <a:extLst>
                <a:ext uri="{FF2B5EF4-FFF2-40B4-BE49-F238E27FC236}">
                  <a16:creationId xmlns:a16="http://schemas.microsoft.com/office/drawing/2014/main" id="{48E5A6FB-D052-42DC-8222-2172D80BC6F7}"/>
                </a:ext>
              </a:extLst>
            </p:cNvPr>
            <p:cNvSpPr/>
            <p:nvPr/>
          </p:nvSpPr>
          <p:spPr>
            <a:xfrm>
              <a:off x="547870" y="3197836"/>
              <a:ext cx="2932076" cy="16895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7200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8D004C"/>
                </a:buClr>
                <a:buSzPct val="90000"/>
                <a:buFontTx/>
                <a:buNone/>
                <a:tabLst/>
                <a:defRPr/>
              </a:pPr>
              <a:endParaRPr kumimoji="0" lang="es-MX" sz="1400" b="1" i="0" u="none" strike="noStrike" kern="1200" cap="none" spc="0" normalizeH="0" baseline="0" noProof="0" dirty="0">
                <a:ln>
                  <a:noFill/>
                </a:ln>
                <a:solidFill>
                  <a:srgbClr val="004A52"/>
                </a:solidFill>
                <a:effectLst/>
                <a:uLnTx/>
                <a:uFillTx/>
                <a:cs typeface="Arial"/>
              </a:endParaRPr>
            </a:p>
            <a:p>
              <a:pPr marL="7200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8D004C"/>
                </a:buClr>
                <a:buSzPct val="90000"/>
                <a:buFontTx/>
                <a:buNone/>
                <a:tabLst/>
                <a:defRPr/>
              </a:pPr>
              <a:r>
                <a:rPr kumimoji="0" lang="es-CL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cs typeface="Arial" panose="020B0604020202020204" pitchFamily="34" charset="0"/>
                </a:rPr>
                <a:t>Eliminar o mitigar los riesgos detectados</a:t>
              </a:r>
              <a:endPara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28" name="CuadroTexto 27">
              <a:extLst>
                <a:ext uri="{FF2B5EF4-FFF2-40B4-BE49-F238E27FC236}">
                  <a16:creationId xmlns:a16="http://schemas.microsoft.com/office/drawing/2014/main" id="{4788E745-E1C1-4139-820C-16528BB026A0}"/>
                </a:ext>
              </a:extLst>
            </p:cNvPr>
            <p:cNvSpPr txBox="1"/>
            <p:nvPr/>
          </p:nvSpPr>
          <p:spPr>
            <a:xfrm>
              <a:off x="542489" y="1879138"/>
              <a:ext cx="1105945" cy="18692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7200" b="1" i="0" u="none" strike="noStrike" kern="1200" cap="none" spc="0" normalizeH="0" baseline="0" noProof="0" dirty="0">
                  <a:ln>
                    <a:noFill/>
                  </a:ln>
                  <a:solidFill>
                    <a:srgbClr val="004A52"/>
                  </a:solidFill>
                  <a:effectLst/>
                  <a:uLnTx/>
                  <a:uFillTx/>
                  <a:cs typeface="Arial"/>
                </a:rPr>
                <a:t>2</a:t>
              </a:r>
            </a:p>
          </p:txBody>
        </p:sp>
      </p:grpSp>
      <p:grpSp>
        <p:nvGrpSpPr>
          <p:cNvPr id="29" name="Agrupar 28">
            <a:extLst>
              <a:ext uri="{FF2B5EF4-FFF2-40B4-BE49-F238E27FC236}">
                <a16:creationId xmlns:a16="http://schemas.microsoft.com/office/drawing/2014/main" id="{C42C495F-9029-4EBB-B8E9-BDA529AAC040}"/>
              </a:ext>
            </a:extLst>
          </p:cNvPr>
          <p:cNvGrpSpPr/>
          <p:nvPr/>
        </p:nvGrpSpPr>
        <p:grpSpPr>
          <a:xfrm>
            <a:off x="8925912" y="3350453"/>
            <a:ext cx="2176201" cy="2626214"/>
            <a:chOff x="449398" y="1816246"/>
            <a:chExt cx="3087056" cy="4089817"/>
          </a:xfrm>
        </p:grpSpPr>
        <p:pic>
          <p:nvPicPr>
            <p:cNvPr id="30" name="Picture 2" descr="Resultado de imagen para logo dekra">
              <a:extLst>
                <a:ext uri="{FF2B5EF4-FFF2-40B4-BE49-F238E27FC236}">
                  <a16:creationId xmlns:a16="http://schemas.microsoft.com/office/drawing/2014/main" id="{F3D5CF5B-5DBF-4FBC-B4E7-93E00C9B300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6324" y="5580956"/>
              <a:ext cx="1041784" cy="297429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Rectángulo 30">
              <a:extLst>
                <a:ext uri="{FF2B5EF4-FFF2-40B4-BE49-F238E27FC236}">
                  <a16:creationId xmlns:a16="http://schemas.microsoft.com/office/drawing/2014/main" id="{87C9ABD4-98E7-46B9-A3A8-8DA1A9726280}"/>
                </a:ext>
              </a:extLst>
            </p:cNvPr>
            <p:cNvSpPr/>
            <p:nvPr/>
          </p:nvSpPr>
          <p:spPr>
            <a:xfrm>
              <a:off x="491363" y="1816246"/>
              <a:ext cx="3045091" cy="4089817"/>
            </a:xfrm>
            <a:prstGeom prst="rect">
              <a:avLst/>
            </a:prstGeom>
            <a:solidFill>
              <a:srgbClr val="F2E40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Rectangle 34">
              <a:extLst>
                <a:ext uri="{FF2B5EF4-FFF2-40B4-BE49-F238E27FC236}">
                  <a16:creationId xmlns:a16="http://schemas.microsoft.com/office/drawing/2014/main" id="{7B9A1658-E00F-4A6D-9CD8-AB1EBD83E41F}"/>
                </a:ext>
              </a:extLst>
            </p:cNvPr>
            <p:cNvSpPr/>
            <p:nvPr/>
          </p:nvSpPr>
          <p:spPr>
            <a:xfrm>
              <a:off x="449398" y="3343906"/>
              <a:ext cx="2932076" cy="13060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7200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8D004C"/>
                </a:buClr>
                <a:buSzPct val="90000"/>
                <a:buFontTx/>
                <a:buNone/>
                <a:tabLst/>
                <a:defRPr/>
              </a:pPr>
              <a:endParaRPr kumimoji="0" lang="es-MX" sz="1400" b="1" i="0" u="none" strike="noStrike" kern="1200" cap="none" spc="0" normalizeH="0" baseline="0" noProof="0" dirty="0">
                <a:ln>
                  <a:noFill/>
                </a:ln>
                <a:solidFill>
                  <a:srgbClr val="004A52"/>
                </a:solidFill>
                <a:effectLst/>
                <a:uLnTx/>
                <a:uFillTx/>
                <a:cs typeface="Arial"/>
              </a:endParaRPr>
            </a:p>
            <a:p>
              <a:pPr marL="7200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8D004C"/>
                </a:buClr>
                <a:buSzPct val="90000"/>
                <a:buFontTx/>
                <a:buNone/>
                <a:tabLst/>
                <a:defRPr/>
              </a:pPr>
              <a:r>
                <a:rPr kumimoji="0" lang="es-CL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cs typeface="Arial" panose="020B0604020202020204" pitchFamily="34" charset="0"/>
                </a:rPr>
                <a:t>Informar a sus trabajadores</a:t>
              </a:r>
              <a:endPara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34" name="CuadroTexto 33">
              <a:extLst>
                <a:ext uri="{FF2B5EF4-FFF2-40B4-BE49-F238E27FC236}">
                  <a16:creationId xmlns:a16="http://schemas.microsoft.com/office/drawing/2014/main" id="{270B3478-A740-474F-A5CF-AE6A148B6251}"/>
                </a:ext>
              </a:extLst>
            </p:cNvPr>
            <p:cNvSpPr txBox="1"/>
            <p:nvPr/>
          </p:nvSpPr>
          <p:spPr>
            <a:xfrm>
              <a:off x="542489" y="1879138"/>
              <a:ext cx="1105945" cy="18692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7200" b="1" i="0" u="none" strike="noStrike" kern="1200" cap="none" spc="0" normalizeH="0" baseline="0" noProof="0" dirty="0">
                  <a:ln>
                    <a:noFill/>
                  </a:ln>
                  <a:solidFill>
                    <a:srgbClr val="004A52"/>
                  </a:solidFill>
                  <a:effectLst/>
                  <a:uLnTx/>
                  <a:uFillTx/>
                  <a:cs typeface="Arial"/>
                </a:rPr>
                <a:t>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0497157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/>
      <p:bldP spid="10" grpId="0"/>
      <p:bldP spid="11" grpId="0"/>
      <p:bldP spid="12" grpId="0"/>
      <p:bldP spid="21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C37361C2-7D8D-F148-AE62-17BED1F4FE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0" imgW="7772400" imgH="10058400" progId="TCLayout.ActiveDocument.1">
                  <p:embed/>
                </p:oleObj>
              </mc:Choice>
              <mc:Fallback>
                <p:oleObj name="Diapositiva de think-cell" r:id="rId10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C37361C2-7D8D-F148-AE62-17BED1F4FE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Marcador de texto 23">
            <a:extLst>
              <a:ext uri="{FF2B5EF4-FFF2-40B4-BE49-F238E27FC236}">
                <a16:creationId xmlns:a16="http://schemas.microsoft.com/office/drawing/2014/main" id="{42B9B605-B12F-6147-BFF4-BCAF18B25A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_tradnl" dirty="0"/>
              <a:t>Implementación TMERT </a:t>
            </a:r>
          </a:p>
        </p:txBody>
      </p:sp>
      <p:sp>
        <p:nvSpPr>
          <p:cNvPr id="25" name="Marcador de texto 24">
            <a:extLst>
              <a:ext uri="{FF2B5EF4-FFF2-40B4-BE49-F238E27FC236}">
                <a16:creationId xmlns:a16="http://schemas.microsoft.com/office/drawing/2014/main" id="{895E7C57-E423-7444-A1F9-CACBB7D8C0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s-ES_tradnl" dirty="0"/>
              <a:t>Principales pasos en la empresa  </a:t>
            </a:r>
          </a:p>
        </p:txBody>
      </p:sp>
      <p:sp>
        <p:nvSpPr>
          <p:cNvPr id="33" name="Marcador de número de diapositiva 32">
            <a:extLst>
              <a:ext uri="{FF2B5EF4-FFF2-40B4-BE49-F238E27FC236}">
                <a16:creationId xmlns:a16="http://schemas.microsoft.com/office/drawing/2014/main" id="{D771257B-5667-DF49-BB0E-ADFCDD355D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480326" y="6330732"/>
            <a:ext cx="1844164" cy="365125"/>
          </a:xfrm>
        </p:spPr>
        <p:txBody>
          <a:bodyPr/>
          <a:lstStyle/>
          <a:p>
            <a:fld id="{B37290F3-BA30-9341-A10E-737EC97582C1}" type="slidenum">
              <a:rPr lang="es-CL" smtClean="0"/>
              <a:pPr/>
              <a:t>16</a:t>
            </a:fld>
            <a:endParaRPr lang="es-CL" dirty="0"/>
          </a:p>
        </p:txBody>
      </p:sp>
      <p:sp>
        <p:nvSpPr>
          <p:cNvPr id="8" name="AutoShape 20">
            <a:extLst>
              <a:ext uri="{FF2B5EF4-FFF2-40B4-BE49-F238E27FC236}">
                <a16:creationId xmlns:a16="http://schemas.microsoft.com/office/drawing/2014/main" id="{719B4BED-29FF-4C18-A30F-AFDAC625C0BB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977181" y="1992902"/>
            <a:ext cx="1994822" cy="1091587"/>
          </a:xfrm>
          <a:prstGeom prst="homePlate">
            <a:avLst>
              <a:gd name="adj" fmla="val 19325"/>
            </a:avLst>
          </a:prstGeom>
          <a:solidFill>
            <a:srgbClr val="F2E40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 lIns="72000" tIns="36000" rIns="72000" bIns="36000" rtlCol="0" anchor="ctr"/>
          <a:lstStyle/>
          <a:p>
            <a:pPr algn="ctr" defTabSz="933257" fontAlgn="base">
              <a:spcBef>
                <a:spcPct val="0"/>
              </a:spcBef>
              <a:spcAft>
                <a:spcPct val="0"/>
              </a:spcAft>
            </a:pPr>
            <a:r>
              <a:rPr lang="es-ES_tradnl" sz="1400" b="1" dirty="0">
                <a:solidFill>
                  <a:srgbClr val="086837"/>
                </a:solidFill>
                <a:latin typeface="Arial" pitchFamily="34" charset="0"/>
                <a:cs typeface="Arial" pitchFamily="34" charset="0"/>
              </a:rPr>
              <a:t>Identificar el Peligro</a:t>
            </a:r>
          </a:p>
        </p:txBody>
      </p:sp>
      <p:sp>
        <p:nvSpPr>
          <p:cNvPr id="9" name="Chevron 57">
            <a:extLst>
              <a:ext uri="{FF2B5EF4-FFF2-40B4-BE49-F238E27FC236}">
                <a16:creationId xmlns:a16="http://schemas.microsoft.com/office/drawing/2014/main" id="{C2084136-8876-40A9-9C0B-685D4AD4625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7018762" y="1958576"/>
            <a:ext cx="2134232" cy="1091587"/>
          </a:xfrm>
          <a:prstGeom prst="chevron">
            <a:avLst>
              <a:gd name="adj" fmla="val 19614"/>
            </a:avLst>
          </a:prstGeom>
          <a:solidFill>
            <a:srgbClr val="8A004A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 lIns="72000" tIns="36000" rIns="72000" bIns="36000" rtlCol="0" anchor="ctr"/>
          <a:lstStyle/>
          <a:p>
            <a:pPr algn="ctr" defTabSz="933257" fontAlgn="base">
              <a:spcBef>
                <a:spcPct val="0"/>
              </a:spcBef>
              <a:spcAft>
                <a:spcPct val="0"/>
              </a:spcAft>
            </a:pPr>
            <a:r>
              <a:rPr lang="es-ES_tradnl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mplementar medidas de control simples</a:t>
            </a:r>
          </a:p>
        </p:txBody>
      </p:sp>
      <p:sp>
        <p:nvSpPr>
          <p:cNvPr id="10" name="Chevron 88">
            <a:extLst>
              <a:ext uri="{FF2B5EF4-FFF2-40B4-BE49-F238E27FC236}">
                <a16:creationId xmlns:a16="http://schemas.microsoft.com/office/drawing/2014/main" id="{F89F0313-F648-4D43-B75B-6DCE6D58E0AD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2936520" y="1992903"/>
            <a:ext cx="2152402" cy="1091587"/>
          </a:xfrm>
          <a:prstGeom prst="chevron">
            <a:avLst>
              <a:gd name="adj" fmla="val 19614"/>
            </a:avLst>
          </a:prstGeom>
          <a:solidFill>
            <a:srgbClr val="1B7D4A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 lIns="72000" tIns="36000" rIns="72000" bIns="36000" rtlCol="0" anchor="ctr"/>
          <a:lstStyle/>
          <a:p>
            <a:pPr algn="ctr" defTabSz="933257" fontAlgn="base">
              <a:spcBef>
                <a:spcPct val="0"/>
              </a:spcBef>
              <a:spcAft>
                <a:spcPct val="0"/>
              </a:spcAft>
            </a:pPr>
            <a:r>
              <a:rPr lang="es-CL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lanificar y organizar</a:t>
            </a:r>
          </a:p>
        </p:txBody>
      </p:sp>
      <p:sp>
        <p:nvSpPr>
          <p:cNvPr id="11" name="Chevron 88">
            <a:extLst>
              <a:ext uri="{FF2B5EF4-FFF2-40B4-BE49-F238E27FC236}">
                <a16:creationId xmlns:a16="http://schemas.microsoft.com/office/drawing/2014/main" id="{024D9484-4062-47B5-9067-73205BD2523D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4985863" y="1958576"/>
            <a:ext cx="2135097" cy="1091587"/>
          </a:xfrm>
          <a:prstGeom prst="chevron">
            <a:avLst>
              <a:gd name="adj" fmla="val 19614"/>
            </a:avLst>
          </a:prstGeom>
          <a:solidFill>
            <a:srgbClr val="9DC4E7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 lIns="72000" tIns="36000" rIns="72000" bIns="36000" rtlCol="0" anchor="ctr"/>
          <a:lstStyle/>
          <a:p>
            <a:pPr algn="ctr" defTabSz="933257" fontAlgn="base">
              <a:spcBef>
                <a:spcPct val="0"/>
              </a:spcBef>
              <a:spcAft>
                <a:spcPct val="0"/>
              </a:spcAft>
            </a:pPr>
            <a:r>
              <a:rPr lang="es-CL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plicar Lista de chequeo TMERT MINSAL</a:t>
            </a:r>
          </a:p>
        </p:txBody>
      </p:sp>
      <p:sp>
        <p:nvSpPr>
          <p:cNvPr id="12" name="Chevron 57">
            <a:extLst>
              <a:ext uri="{FF2B5EF4-FFF2-40B4-BE49-F238E27FC236}">
                <a16:creationId xmlns:a16="http://schemas.microsoft.com/office/drawing/2014/main" id="{29047771-3159-4F01-84C2-1F3987B5135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9067244" y="1958576"/>
            <a:ext cx="2134232" cy="1091587"/>
          </a:xfrm>
          <a:prstGeom prst="chevron">
            <a:avLst>
              <a:gd name="adj" fmla="val 19614"/>
            </a:avLst>
          </a:prstGeom>
          <a:solidFill>
            <a:srgbClr val="004A5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 lIns="72000" tIns="36000" rIns="72000" bIns="36000" rtlCol="0" anchor="ctr"/>
          <a:lstStyle/>
          <a:p>
            <a:pPr algn="ctr" defTabSz="933257" fontAlgn="base">
              <a:spcBef>
                <a:spcPct val="0"/>
              </a:spcBef>
              <a:spcAft>
                <a:spcPct val="0"/>
              </a:spcAft>
            </a:pPr>
            <a:r>
              <a:rPr lang="es-ES_tradnl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valuar la efectividad de las medidas implementadas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B66CF756-41ED-4794-A626-778F878A1018}"/>
              </a:ext>
            </a:extLst>
          </p:cNvPr>
          <p:cNvSpPr/>
          <p:nvPr/>
        </p:nvSpPr>
        <p:spPr>
          <a:xfrm>
            <a:off x="4481021" y="3651485"/>
            <a:ext cx="5798246" cy="28618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1" indent="-285750">
              <a:buClr>
                <a:srgbClr val="F2E401"/>
              </a:buClr>
              <a:buFont typeface="Wingdings" pitchFamily="2" charset="2"/>
              <a:buChar char="§"/>
            </a:pPr>
            <a:r>
              <a:rPr lang="es-CL" sz="1400" kern="1200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rPr>
              <a:t>Definir responsable (s) de la implementación (Manual de implementación Protocolo)</a:t>
            </a:r>
          </a:p>
          <a:p>
            <a:pPr marL="285750" lvl="1" indent="-285750">
              <a:buClr>
                <a:srgbClr val="F2E401"/>
              </a:buClr>
              <a:buFont typeface="Wingdings" pitchFamily="2" charset="2"/>
              <a:buChar char="§"/>
            </a:pPr>
            <a:r>
              <a:rPr lang="es-CL" sz="1400" kern="1200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rPr>
              <a:t>Difusión interna de Protocolo (</a:t>
            </a:r>
            <a:r>
              <a:rPr lang="es-CL" sz="1400" kern="1200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  <a:sym typeface="Wingdings" panose="05000000000000000000" pitchFamily="2" charset="2"/>
              </a:rPr>
              <a:t>Ficha Técnica informativa Protocolo TMERT)</a:t>
            </a:r>
            <a:endParaRPr lang="es-CL" sz="1400" kern="1200" dirty="0">
              <a:solidFill>
                <a:prstClr val="black">
                  <a:lumMod val="75000"/>
                  <a:lumOff val="25000"/>
                </a:prstClr>
              </a:solidFill>
              <a:cs typeface="Arial" panose="020B0604020202020204" pitchFamily="34" charset="0"/>
            </a:endParaRPr>
          </a:p>
          <a:p>
            <a:pPr marL="285750" lvl="1" indent="-285750">
              <a:buClr>
                <a:srgbClr val="F2E401"/>
              </a:buClr>
              <a:buFont typeface="Wingdings" pitchFamily="2" charset="2"/>
              <a:buChar char="§"/>
            </a:pPr>
            <a:r>
              <a:rPr lang="es-CL" sz="1400" kern="1200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rPr>
              <a:t>Elaborar Carta Gantt con las distintas etapas de implementación</a:t>
            </a:r>
          </a:p>
          <a:p>
            <a:pPr marL="285750" lvl="1" indent="-285750">
              <a:buClr>
                <a:srgbClr val="F2E401"/>
              </a:buClr>
              <a:buFont typeface="Wingdings" pitchFamily="2" charset="2"/>
              <a:buChar char="§"/>
            </a:pPr>
            <a:r>
              <a:rPr lang="es-CL" sz="1400" kern="1200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rPr>
              <a:t>Realizar curso e-learning Curso Norma Técnica TMERT MINSAL</a:t>
            </a:r>
          </a:p>
          <a:p>
            <a:pPr marL="285750" lvl="1" indent="-285750">
              <a:buClr>
                <a:srgbClr val="F2E401"/>
              </a:buClr>
              <a:buFont typeface="Wingdings" pitchFamily="2" charset="2"/>
              <a:buChar char="§"/>
            </a:pPr>
            <a:r>
              <a:rPr lang="es-CL" sz="1400" kern="1200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rPr>
              <a:t>Incluir al CPHS</a:t>
            </a:r>
          </a:p>
          <a:p>
            <a:pPr marL="403225" lvl="1" indent="-403225" fontAlgn="base">
              <a:spcBef>
                <a:spcPts val="300"/>
              </a:spcBef>
              <a:spcAft>
                <a:spcPct val="0"/>
              </a:spcAft>
              <a:defRPr/>
            </a:pPr>
            <a:endParaRPr lang="es-CL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Chevron 88">
            <a:extLst>
              <a:ext uri="{FF2B5EF4-FFF2-40B4-BE49-F238E27FC236}">
                <a16:creationId xmlns:a16="http://schemas.microsoft.com/office/drawing/2014/main" id="{BD1CA831-9113-4F4D-92E2-20FF4A0F774C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1860319" y="4324121"/>
            <a:ext cx="2152402" cy="1091587"/>
          </a:xfrm>
          <a:prstGeom prst="chevron">
            <a:avLst>
              <a:gd name="adj" fmla="val 19614"/>
            </a:avLst>
          </a:prstGeom>
          <a:solidFill>
            <a:srgbClr val="1B7D4A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 lIns="72000" tIns="36000" rIns="72000" bIns="36000" rtlCol="0" anchor="ctr"/>
          <a:lstStyle/>
          <a:p>
            <a:pPr algn="ctr" defTabSz="933257" fontAlgn="base">
              <a:spcBef>
                <a:spcPct val="0"/>
              </a:spcBef>
              <a:spcAft>
                <a:spcPct val="0"/>
              </a:spcAft>
            </a:pPr>
            <a:r>
              <a:rPr lang="es-CL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lanificar y organizar</a:t>
            </a:r>
          </a:p>
        </p:txBody>
      </p:sp>
    </p:spTree>
    <p:extLst>
      <p:ext uri="{BB962C8B-B14F-4D97-AF65-F5344CB8AC3E}">
        <p14:creationId xmlns:p14="http://schemas.microsoft.com/office/powerpoint/2010/main" val="173323117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4" grpId="0"/>
      <p:bldP spid="15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C37361C2-7D8D-F148-AE62-17BED1F4FE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2" imgW="7772400" imgH="10058400" progId="TCLayout.ActiveDocument.1">
                  <p:embed/>
                </p:oleObj>
              </mc:Choice>
              <mc:Fallback>
                <p:oleObj name="Diapositiva de think-cell" r:id="rId12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C37361C2-7D8D-F148-AE62-17BED1F4FE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Marcador de texto 23">
            <a:extLst>
              <a:ext uri="{FF2B5EF4-FFF2-40B4-BE49-F238E27FC236}">
                <a16:creationId xmlns:a16="http://schemas.microsoft.com/office/drawing/2014/main" id="{42B9B605-B12F-6147-BFF4-BCAF18B25A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_tradnl" dirty="0"/>
              <a:t>Implementación TMERT</a:t>
            </a:r>
          </a:p>
        </p:txBody>
      </p:sp>
      <p:sp>
        <p:nvSpPr>
          <p:cNvPr id="25" name="Marcador de texto 24">
            <a:extLst>
              <a:ext uri="{FF2B5EF4-FFF2-40B4-BE49-F238E27FC236}">
                <a16:creationId xmlns:a16="http://schemas.microsoft.com/office/drawing/2014/main" id="{895E7C57-E423-7444-A1F9-CACBB7D8C0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s-ES_tradnl" dirty="0"/>
              <a:t>Definir puestos de trabajo y tareas </a:t>
            </a:r>
          </a:p>
        </p:txBody>
      </p:sp>
      <p:sp>
        <p:nvSpPr>
          <p:cNvPr id="33" name="Marcador de número de diapositiva 32">
            <a:extLst>
              <a:ext uri="{FF2B5EF4-FFF2-40B4-BE49-F238E27FC236}">
                <a16:creationId xmlns:a16="http://schemas.microsoft.com/office/drawing/2014/main" id="{D771257B-5667-DF49-BB0E-ADFCDD355D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480326" y="6330732"/>
            <a:ext cx="1844164" cy="365125"/>
          </a:xfrm>
        </p:spPr>
        <p:txBody>
          <a:bodyPr/>
          <a:lstStyle/>
          <a:p>
            <a:fld id="{B37290F3-BA30-9341-A10E-737EC97582C1}" type="slidenum">
              <a:rPr lang="es-CL" smtClean="0"/>
              <a:pPr/>
              <a:t>17</a:t>
            </a:fld>
            <a:endParaRPr lang="es-CL" dirty="0"/>
          </a:p>
        </p:txBody>
      </p:sp>
      <p:sp>
        <p:nvSpPr>
          <p:cNvPr id="7" name="AutoShape 20">
            <a:extLst>
              <a:ext uri="{FF2B5EF4-FFF2-40B4-BE49-F238E27FC236}">
                <a16:creationId xmlns:a16="http://schemas.microsoft.com/office/drawing/2014/main" id="{16EB8560-29B8-4116-9CCF-015DFD78063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54943" y="1807776"/>
            <a:ext cx="2396200" cy="716112"/>
          </a:xfrm>
          <a:prstGeom prst="homePlate">
            <a:avLst>
              <a:gd name="adj" fmla="val 19325"/>
            </a:avLst>
          </a:prstGeom>
          <a:solidFill>
            <a:srgbClr val="F2E40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 lIns="72000" tIns="36000" rIns="72000" bIns="36000" rtlCol="0" anchor="ctr"/>
          <a:lstStyle/>
          <a:p>
            <a:pPr algn="ctr" defTabSz="933257" fontAlgn="base">
              <a:spcBef>
                <a:spcPct val="0"/>
              </a:spcBef>
              <a:spcAft>
                <a:spcPct val="0"/>
              </a:spcAft>
            </a:pPr>
            <a:r>
              <a:rPr lang="es-ES_tradnl" sz="1600" b="1" dirty="0">
                <a:solidFill>
                  <a:srgbClr val="086837"/>
                </a:solidFill>
                <a:latin typeface="Arial" pitchFamily="34" charset="0"/>
                <a:cs typeface="Arial" pitchFamily="34" charset="0"/>
              </a:rPr>
              <a:t>Proceso</a:t>
            </a:r>
          </a:p>
        </p:txBody>
      </p:sp>
      <p:sp>
        <p:nvSpPr>
          <p:cNvPr id="8" name="Chevron 57">
            <a:extLst>
              <a:ext uri="{FF2B5EF4-FFF2-40B4-BE49-F238E27FC236}">
                <a16:creationId xmlns:a16="http://schemas.microsoft.com/office/drawing/2014/main" id="{7CC0FC2C-1634-4F45-9F12-6FE4C29E4C4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9039802" y="1811210"/>
            <a:ext cx="2375971" cy="716112"/>
          </a:xfrm>
          <a:prstGeom prst="chevron">
            <a:avLst>
              <a:gd name="adj" fmla="val 19614"/>
            </a:avLst>
          </a:prstGeom>
          <a:solidFill>
            <a:srgbClr val="8A004A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 lIns="72000" tIns="36000" rIns="72000" bIns="36000" rtlCol="0" anchor="ctr"/>
          <a:lstStyle/>
          <a:p>
            <a:pPr algn="ctr" defTabSz="933257" fontAlgn="base">
              <a:spcBef>
                <a:spcPct val="0"/>
              </a:spcBef>
              <a:spcAft>
                <a:spcPct val="0"/>
              </a:spcAft>
            </a:pPr>
            <a:r>
              <a:rPr lang="es-ES_tradnl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rabajadores</a:t>
            </a:r>
          </a:p>
        </p:txBody>
      </p:sp>
      <p:sp>
        <p:nvSpPr>
          <p:cNvPr id="9" name="Chevron 88">
            <a:extLst>
              <a:ext uri="{FF2B5EF4-FFF2-40B4-BE49-F238E27FC236}">
                <a16:creationId xmlns:a16="http://schemas.microsoft.com/office/drawing/2014/main" id="{5174DBCE-2CF8-4F0D-813D-4E0741915F67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3466942" y="1807776"/>
            <a:ext cx="2396200" cy="716112"/>
          </a:xfrm>
          <a:prstGeom prst="chevron">
            <a:avLst>
              <a:gd name="adj" fmla="val 19614"/>
            </a:avLst>
          </a:prstGeom>
          <a:solidFill>
            <a:srgbClr val="1B7D4A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 lIns="72000" tIns="36000" rIns="72000" bIns="36000" rtlCol="0" anchor="ctr"/>
          <a:lstStyle/>
          <a:p>
            <a:pPr algn="ctr" defTabSz="933257" fontAlgn="base">
              <a:spcBef>
                <a:spcPct val="0"/>
              </a:spcBef>
              <a:spcAft>
                <a:spcPct val="0"/>
              </a:spcAft>
            </a:pPr>
            <a:r>
              <a:rPr lang="es-CL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uesto de trabajo</a:t>
            </a:r>
          </a:p>
        </p:txBody>
      </p:sp>
      <p:sp>
        <p:nvSpPr>
          <p:cNvPr id="11" name="Chevron 88">
            <a:extLst>
              <a:ext uri="{FF2B5EF4-FFF2-40B4-BE49-F238E27FC236}">
                <a16:creationId xmlns:a16="http://schemas.microsoft.com/office/drawing/2014/main" id="{95035C58-A721-4A56-95F0-1FE0F23487D6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6227803" y="1807775"/>
            <a:ext cx="2376934" cy="716112"/>
          </a:xfrm>
          <a:prstGeom prst="chevron">
            <a:avLst>
              <a:gd name="adj" fmla="val 19614"/>
            </a:avLst>
          </a:prstGeom>
          <a:solidFill>
            <a:srgbClr val="9DC4E7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 lIns="72000" tIns="36000" rIns="72000" bIns="36000" rtlCol="0" anchor="ctr"/>
          <a:lstStyle/>
          <a:p>
            <a:pPr algn="ctr" defTabSz="933257" fontAlgn="base">
              <a:spcBef>
                <a:spcPct val="0"/>
              </a:spcBef>
              <a:spcAft>
                <a:spcPct val="0"/>
              </a:spcAft>
            </a:pPr>
            <a:r>
              <a:rPr lang="es-CL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area</a:t>
            </a:r>
          </a:p>
        </p:txBody>
      </p:sp>
      <p:sp>
        <p:nvSpPr>
          <p:cNvPr id="12" name="AutoShape 20">
            <a:extLst>
              <a:ext uri="{FF2B5EF4-FFF2-40B4-BE49-F238E27FC236}">
                <a16:creationId xmlns:a16="http://schemas.microsoft.com/office/drawing/2014/main" id="{1043BA0D-CF30-4618-AABE-B5D61F86C316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50882" y="2874146"/>
            <a:ext cx="2396200" cy="581673"/>
          </a:xfrm>
          <a:prstGeom prst="homePlate">
            <a:avLst>
              <a:gd name="adj" fmla="val 19325"/>
            </a:avLst>
          </a:prstGeom>
          <a:solidFill>
            <a:srgbClr val="F2E40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 lIns="72000" tIns="36000" rIns="72000" bIns="36000" rtlCol="0" anchor="ctr"/>
          <a:lstStyle/>
          <a:p>
            <a:pPr algn="ctr" defTabSz="933257" fontAlgn="base">
              <a:spcBef>
                <a:spcPct val="0"/>
              </a:spcBef>
              <a:spcAft>
                <a:spcPct val="0"/>
              </a:spcAft>
            </a:pPr>
            <a:r>
              <a:rPr lang="es-ES_tradnl" sz="1600" b="1" dirty="0">
                <a:solidFill>
                  <a:srgbClr val="086837"/>
                </a:solidFill>
                <a:latin typeface="Arial" pitchFamily="34" charset="0"/>
                <a:cs typeface="Arial" pitchFamily="34" charset="0"/>
              </a:rPr>
              <a:t>Producción</a:t>
            </a:r>
          </a:p>
        </p:txBody>
      </p:sp>
      <p:sp>
        <p:nvSpPr>
          <p:cNvPr id="13" name="Chevron 57">
            <a:extLst>
              <a:ext uri="{FF2B5EF4-FFF2-40B4-BE49-F238E27FC236}">
                <a16:creationId xmlns:a16="http://schemas.microsoft.com/office/drawing/2014/main" id="{3828BB86-F0EC-4CF2-9F23-5AF0D4F078C0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9031680" y="2858243"/>
            <a:ext cx="2375971" cy="581673"/>
          </a:xfrm>
          <a:prstGeom prst="chevron">
            <a:avLst>
              <a:gd name="adj" fmla="val 19614"/>
            </a:avLst>
          </a:prstGeom>
          <a:solidFill>
            <a:srgbClr val="8A004A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 lIns="72000" tIns="36000" rIns="72000" bIns="36000" rtlCol="0" anchor="ctr"/>
          <a:lstStyle/>
          <a:p>
            <a:pPr algn="ctr" defTabSz="933257" fontAlgn="base">
              <a:spcBef>
                <a:spcPct val="0"/>
              </a:spcBef>
              <a:spcAft>
                <a:spcPct val="0"/>
              </a:spcAft>
            </a:pPr>
            <a:r>
              <a:rPr lang="es-ES_tradnl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5 H 5 M</a:t>
            </a:r>
          </a:p>
        </p:txBody>
      </p:sp>
      <p:sp>
        <p:nvSpPr>
          <p:cNvPr id="14" name="Chevron 88">
            <a:extLst>
              <a:ext uri="{FF2B5EF4-FFF2-40B4-BE49-F238E27FC236}">
                <a16:creationId xmlns:a16="http://schemas.microsoft.com/office/drawing/2014/main" id="{1A5518C1-D8B5-478F-B807-8D7CEB4AFAAF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438576" y="2852021"/>
            <a:ext cx="2396200" cy="581673"/>
          </a:xfrm>
          <a:prstGeom prst="chevron">
            <a:avLst>
              <a:gd name="adj" fmla="val 19614"/>
            </a:avLst>
          </a:prstGeom>
          <a:solidFill>
            <a:srgbClr val="1B7D4A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 lIns="72000" tIns="36000" rIns="72000" bIns="36000" rtlCol="0" anchor="ctr"/>
          <a:lstStyle/>
          <a:p>
            <a:pPr algn="ctr" defTabSz="933257" fontAlgn="base">
              <a:spcBef>
                <a:spcPct val="0"/>
              </a:spcBef>
              <a:spcAft>
                <a:spcPct val="0"/>
              </a:spcAft>
            </a:pPr>
            <a:r>
              <a:rPr lang="es-CL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perario de línea</a:t>
            </a:r>
          </a:p>
        </p:txBody>
      </p:sp>
      <p:sp>
        <p:nvSpPr>
          <p:cNvPr id="15" name="Chevron 88">
            <a:extLst>
              <a:ext uri="{FF2B5EF4-FFF2-40B4-BE49-F238E27FC236}">
                <a16:creationId xmlns:a16="http://schemas.microsoft.com/office/drawing/2014/main" id="{6F23A892-FF67-4C1D-A5C8-D58618642F4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6262371" y="2852022"/>
            <a:ext cx="2376934" cy="581673"/>
          </a:xfrm>
          <a:prstGeom prst="chevron">
            <a:avLst>
              <a:gd name="adj" fmla="val 19614"/>
            </a:avLst>
          </a:prstGeom>
          <a:solidFill>
            <a:srgbClr val="9DC4E7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 lIns="72000" tIns="36000" rIns="72000" bIns="36000" rtlCol="0" anchor="ctr"/>
          <a:lstStyle/>
          <a:p>
            <a:pPr algn="ctr" defTabSz="933257" fontAlgn="base">
              <a:spcBef>
                <a:spcPct val="0"/>
              </a:spcBef>
              <a:spcAft>
                <a:spcPct val="0"/>
              </a:spcAft>
            </a:pPr>
            <a:r>
              <a:rPr lang="es-CL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tiquetar productos</a:t>
            </a: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085D748E-1672-48E6-9378-75D90E66A0CD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50882" y="4160235"/>
            <a:ext cx="2236741" cy="1481613"/>
          </a:xfrm>
          <a:prstGeom prst="rect">
            <a:avLst/>
          </a:prstGeom>
        </p:spPr>
      </p:pic>
      <p:pic>
        <p:nvPicPr>
          <p:cNvPr id="17" name="Gráfico 102">
            <a:extLst>
              <a:ext uri="{FF2B5EF4-FFF2-40B4-BE49-F238E27FC236}">
                <a16:creationId xmlns:a16="http://schemas.microsoft.com/office/drawing/2014/main" id="{516401B5-00C5-4F67-82A6-A45FF2FA57F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 flipH="1">
            <a:off x="3795606" y="4206763"/>
            <a:ext cx="1019660" cy="1019660"/>
          </a:xfrm>
          <a:prstGeom prst="rect">
            <a:avLst/>
          </a:prstGeom>
        </p:spPr>
      </p:pic>
      <p:pic>
        <p:nvPicPr>
          <p:cNvPr id="18" name="Gráfico 104">
            <a:extLst>
              <a:ext uri="{FF2B5EF4-FFF2-40B4-BE49-F238E27FC236}">
                <a16:creationId xmlns:a16="http://schemas.microsoft.com/office/drawing/2014/main" id="{0939D85E-8B28-4D94-B03B-64365C7DE3EC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 flipH="1">
            <a:off x="4439304" y="4206761"/>
            <a:ext cx="1019663" cy="1019663"/>
          </a:xfrm>
          <a:prstGeom prst="rect">
            <a:avLst/>
          </a:prstGeom>
        </p:spPr>
      </p:pic>
      <p:pic>
        <p:nvPicPr>
          <p:cNvPr id="19" name="Imagen 18">
            <a:extLst>
              <a:ext uri="{FF2B5EF4-FFF2-40B4-BE49-F238E27FC236}">
                <a16:creationId xmlns:a16="http://schemas.microsoft.com/office/drawing/2014/main" id="{4E5AABD0-0E26-428A-B8BB-5B5EE5494D48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199228" y="3943081"/>
            <a:ext cx="2495706" cy="1904238"/>
          </a:xfrm>
          <a:prstGeom prst="rect">
            <a:avLst/>
          </a:prstGeom>
        </p:spPr>
      </p:pic>
      <p:pic>
        <p:nvPicPr>
          <p:cNvPr id="20" name="Gráfico 102">
            <a:extLst>
              <a:ext uri="{FF2B5EF4-FFF2-40B4-BE49-F238E27FC236}">
                <a16:creationId xmlns:a16="http://schemas.microsoft.com/office/drawing/2014/main" id="{7FB48E2E-09CA-45CF-BEB6-27AE85CE2DA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 flipH="1">
            <a:off x="9673247" y="3908132"/>
            <a:ext cx="504205" cy="504205"/>
          </a:xfrm>
          <a:prstGeom prst="rect">
            <a:avLst/>
          </a:prstGeom>
        </p:spPr>
      </p:pic>
      <p:pic>
        <p:nvPicPr>
          <p:cNvPr id="21" name="Gráfico 104">
            <a:extLst>
              <a:ext uri="{FF2B5EF4-FFF2-40B4-BE49-F238E27FC236}">
                <a16:creationId xmlns:a16="http://schemas.microsoft.com/office/drawing/2014/main" id="{471715FE-8D30-44D9-ABEF-293B7B56D34E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 flipH="1">
            <a:off x="9709482" y="5334476"/>
            <a:ext cx="504206" cy="504206"/>
          </a:xfrm>
          <a:prstGeom prst="rect">
            <a:avLst/>
          </a:prstGeom>
        </p:spPr>
      </p:pic>
      <p:pic>
        <p:nvPicPr>
          <p:cNvPr id="22" name="Gráfico 102">
            <a:extLst>
              <a:ext uri="{FF2B5EF4-FFF2-40B4-BE49-F238E27FC236}">
                <a16:creationId xmlns:a16="http://schemas.microsoft.com/office/drawing/2014/main" id="{85789DDB-BEE5-47B1-9D08-62BD5468850E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 flipH="1">
            <a:off x="9702301" y="5838681"/>
            <a:ext cx="504205" cy="504205"/>
          </a:xfrm>
          <a:prstGeom prst="rect">
            <a:avLst/>
          </a:prstGeom>
        </p:spPr>
      </p:pic>
      <p:pic>
        <p:nvPicPr>
          <p:cNvPr id="23" name="Gráfico 104">
            <a:extLst>
              <a:ext uri="{FF2B5EF4-FFF2-40B4-BE49-F238E27FC236}">
                <a16:creationId xmlns:a16="http://schemas.microsoft.com/office/drawing/2014/main" id="{0A699AE6-AC61-485C-9040-64CDAC8D6DAE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 flipH="1">
            <a:off x="9687935" y="4381083"/>
            <a:ext cx="504206" cy="504206"/>
          </a:xfrm>
          <a:prstGeom prst="rect">
            <a:avLst/>
          </a:prstGeom>
        </p:spPr>
      </p:pic>
      <p:pic>
        <p:nvPicPr>
          <p:cNvPr id="26" name="Gráfico 102">
            <a:extLst>
              <a:ext uri="{FF2B5EF4-FFF2-40B4-BE49-F238E27FC236}">
                <a16:creationId xmlns:a16="http://schemas.microsoft.com/office/drawing/2014/main" id="{DA3A0ABD-05FD-46E7-A491-41D3761A6047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 flipH="1">
            <a:off x="9702301" y="4851987"/>
            <a:ext cx="504205" cy="504205"/>
          </a:xfrm>
          <a:prstGeom prst="rect">
            <a:avLst/>
          </a:prstGeom>
        </p:spPr>
      </p:pic>
      <p:sp>
        <p:nvSpPr>
          <p:cNvPr id="27" name="Rectángulo 26">
            <a:extLst>
              <a:ext uri="{FF2B5EF4-FFF2-40B4-BE49-F238E27FC236}">
                <a16:creationId xmlns:a16="http://schemas.microsoft.com/office/drawing/2014/main" id="{EF3F46A0-9780-4B3B-9203-2F74B592BA1D}"/>
              </a:ext>
            </a:extLst>
          </p:cNvPr>
          <p:cNvSpPr/>
          <p:nvPr/>
        </p:nvSpPr>
        <p:spPr>
          <a:xfrm>
            <a:off x="10176090" y="3956900"/>
            <a:ext cx="548986" cy="23451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28" name="Gráfico 102">
            <a:extLst>
              <a:ext uri="{FF2B5EF4-FFF2-40B4-BE49-F238E27FC236}">
                <a16:creationId xmlns:a16="http://schemas.microsoft.com/office/drawing/2014/main" id="{9F65234D-234D-4843-B3DD-E1AD0FBDE3D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 flipH="1">
            <a:off x="10709349" y="3896076"/>
            <a:ext cx="504205" cy="516261"/>
          </a:xfrm>
          <a:prstGeom prst="rect">
            <a:avLst/>
          </a:prstGeom>
        </p:spPr>
      </p:pic>
      <p:pic>
        <p:nvPicPr>
          <p:cNvPr id="29" name="Gráfico 104">
            <a:extLst>
              <a:ext uri="{FF2B5EF4-FFF2-40B4-BE49-F238E27FC236}">
                <a16:creationId xmlns:a16="http://schemas.microsoft.com/office/drawing/2014/main" id="{31A0FC5F-CD98-4511-9B20-0382CA65A536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 flipH="1">
            <a:off x="10745585" y="5322420"/>
            <a:ext cx="504206" cy="516262"/>
          </a:xfrm>
          <a:prstGeom prst="rect">
            <a:avLst/>
          </a:prstGeom>
        </p:spPr>
      </p:pic>
      <p:pic>
        <p:nvPicPr>
          <p:cNvPr id="30" name="Gráfico 102">
            <a:extLst>
              <a:ext uri="{FF2B5EF4-FFF2-40B4-BE49-F238E27FC236}">
                <a16:creationId xmlns:a16="http://schemas.microsoft.com/office/drawing/2014/main" id="{00A4D79C-2340-4A57-BA6E-7E4F07CEFD2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 flipH="1">
            <a:off x="10738403" y="5826625"/>
            <a:ext cx="504205" cy="516261"/>
          </a:xfrm>
          <a:prstGeom prst="rect">
            <a:avLst/>
          </a:prstGeom>
        </p:spPr>
      </p:pic>
      <p:pic>
        <p:nvPicPr>
          <p:cNvPr id="31" name="Gráfico 104">
            <a:extLst>
              <a:ext uri="{FF2B5EF4-FFF2-40B4-BE49-F238E27FC236}">
                <a16:creationId xmlns:a16="http://schemas.microsoft.com/office/drawing/2014/main" id="{0CA02C12-4D69-483D-935F-CE57BA88FDB0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 flipH="1">
            <a:off x="10724038" y="4369027"/>
            <a:ext cx="504206" cy="516262"/>
          </a:xfrm>
          <a:prstGeom prst="rect">
            <a:avLst/>
          </a:prstGeom>
        </p:spPr>
      </p:pic>
      <p:pic>
        <p:nvPicPr>
          <p:cNvPr id="32" name="Gráfico 102">
            <a:extLst>
              <a:ext uri="{FF2B5EF4-FFF2-40B4-BE49-F238E27FC236}">
                <a16:creationId xmlns:a16="http://schemas.microsoft.com/office/drawing/2014/main" id="{654DCBD1-274F-4972-9CE9-40B85B7B94A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 flipH="1">
            <a:off x="10738403" y="4839931"/>
            <a:ext cx="504205" cy="516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071563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27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C37361C2-7D8D-F148-AE62-17BED1F4FE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9" imgW="7772400" imgH="10058400" progId="TCLayout.ActiveDocument.1">
                  <p:embed/>
                </p:oleObj>
              </mc:Choice>
              <mc:Fallback>
                <p:oleObj name="Diapositiva de think-cell" r:id="rId9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C37361C2-7D8D-F148-AE62-17BED1F4FE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Marcador de texto 23">
            <a:extLst>
              <a:ext uri="{FF2B5EF4-FFF2-40B4-BE49-F238E27FC236}">
                <a16:creationId xmlns:a16="http://schemas.microsoft.com/office/drawing/2014/main" id="{42B9B605-B12F-6147-BFF4-BCAF18B25A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_tradnl" dirty="0"/>
              <a:t>Implementación TMERT</a:t>
            </a:r>
          </a:p>
        </p:txBody>
      </p:sp>
      <p:sp>
        <p:nvSpPr>
          <p:cNvPr id="25" name="Marcador de texto 24">
            <a:extLst>
              <a:ext uri="{FF2B5EF4-FFF2-40B4-BE49-F238E27FC236}">
                <a16:creationId xmlns:a16="http://schemas.microsoft.com/office/drawing/2014/main" id="{895E7C57-E423-7444-A1F9-CACBB7D8C0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s-ES_tradnl" dirty="0"/>
              <a:t>Aplicar Lista de Chequeo TMERT MINSAL (2011)</a:t>
            </a:r>
          </a:p>
        </p:txBody>
      </p:sp>
      <p:sp>
        <p:nvSpPr>
          <p:cNvPr id="33" name="Marcador de número de diapositiva 32">
            <a:extLst>
              <a:ext uri="{FF2B5EF4-FFF2-40B4-BE49-F238E27FC236}">
                <a16:creationId xmlns:a16="http://schemas.microsoft.com/office/drawing/2014/main" id="{D771257B-5667-DF49-BB0E-ADFCDD355D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480326" y="6330732"/>
            <a:ext cx="1844164" cy="365125"/>
          </a:xfrm>
        </p:spPr>
        <p:txBody>
          <a:bodyPr/>
          <a:lstStyle/>
          <a:p>
            <a:fld id="{B37290F3-BA30-9341-A10E-737EC97582C1}" type="slidenum">
              <a:rPr lang="es-CL" smtClean="0"/>
              <a:pPr/>
              <a:t>18</a:t>
            </a:fld>
            <a:endParaRPr lang="es-CL" dirty="0"/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AD1E0F6-063F-4618-B9DD-EAA16F3723F4}"/>
              </a:ext>
            </a:extLst>
          </p:cNvPr>
          <p:cNvSpPr/>
          <p:nvPr/>
        </p:nvSpPr>
        <p:spPr>
          <a:xfrm>
            <a:off x="550863" y="1609698"/>
            <a:ext cx="10571626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0" hangingPunct="0"/>
            <a:r>
              <a:rPr lang="es-CL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rramienta que permite evaluar preliminarmente el riesgo de TME</a:t>
            </a:r>
            <a:r>
              <a:rPr lang="es-ES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las extremidades superiores presentes en las tareas realizadas por el trabajador.</a:t>
            </a:r>
            <a:endParaRPr lang="es-CL" sz="16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Chevron 57">
            <a:extLst>
              <a:ext uri="{FF2B5EF4-FFF2-40B4-BE49-F238E27FC236}">
                <a16:creationId xmlns:a16="http://schemas.microsoft.com/office/drawing/2014/main" id="{3E9805E6-1B2C-4CC4-8293-94E5C7EF531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115279" y="2438422"/>
            <a:ext cx="1885950" cy="828000"/>
          </a:xfrm>
          <a:prstGeom prst="chevron">
            <a:avLst>
              <a:gd name="adj" fmla="val 19614"/>
            </a:avLst>
          </a:prstGeom>
          <a:solidFill>
            <a:srgbClr val="8A004A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 lIns="72000" tIns="36000" rIns="72000" bIns="36000" rtlCol="0" anchor="ctr"/>
          <a:lstStyle/>
          <a:p>
            <a:pPr algn="ctr" defTabSz="933257" fontAlgn="base">
              <a:spcBef>
                <a:spcPct val="0"/>
              </a:spcBef>
              <a:spcAft>
                <a:spcPct val="0"/>
              </a:spcAft>
            </a:pPr>
            <a:r>
              <a:rPr lang="es-ES_tradnl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aso I</a:t>
            </a:r>
          </a:p>
          <a:p>
            <a:pPr algn="ctr" defTabSz="933257" fontAlgn="base">
              <a:spcBef>
                <a:spcPct val="0"/>
              </a:spcBef>
              <a:spcAft>
                <a:spcPct val="0"/>
              </a:spcAft>
            </a:pPr>
            <a:r>
              <a:rPr lang="es-ES_tradnl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PETITIVIDAD</a:t>
            </a:r>
          </a:p>
        </p:txBody>
      </p:sp>
      <p:sp>
        <p:nvSpPr>
          <p:cNvPr id="36" name="Chevron 57">
            <a:extLst>
              <a:ext uri="{FF2B5EF4-FFF2-40B4-BE49-F238E27FC236}">
                <a16:creationId xmlns:a16="http://schemas.microsoft.com/office/drawing/2014/main" id="{D749D816-7D24-4D57-94C0-9FB1CD278D4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7240274" y="2438422"/>
            <a:ext cx="1885950" cy="828000"/>
          </a:xfrm>
          <a:prstGeom prst="chevron">
            <a:avLst>
              <a:gd name="adj" fmla="val 19614"/>
            </a:avLst>
          </a:prstGeom>
          <a:solidFill>
            <a:srgbClr val="004A5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 lIns="72000" tIns="36000" rIns="72000" bIns="36000" rtlCol="0" anchor="ctr"/>
          <a:lstStyle/>
          <a:p>
            <a:pPr algn="ctr" defTabSz="933257" fontAlgn="base">
              <a:spcBef>
                <a:spcPct val="0"/>
              </a:spcBef>
              <a:spcAft>
                <a:spcPct val="0"/>
              </a:spcAft>
            </a:pPr>
            <a:r>
              <a:rPr lang="es-ES_tradnl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aso IV </a:t>
            </a:r>
          </a:p>
          <a:p>
            <a:pPr algn="ctr" defTabSz="933257" fontAlgn="base">
              <a:spcBef>
                <a:spcPct val="0"/>
              </a:spcBef>
              <a:spcAft>
                <a:spcPct val="0"/>
              </a:spcAft>
            </a:pPr>
            <a:r>
              <a:rPr lang="es-ES_tradnl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ERIODOS DE RECUPERACIÓN</a:t>
            </a:r>
          </a:p>
        </p:txBody>
      </p:sp>
      <p:sp>
        <p:nvSpPr>
          <p:cNvPr id="37" name="Chevron 57">
            <a:extLst>
              <a:ext uri="{FF2B5EF4-FFF2-40B4-BE49-F238E27FC236}">
                <a16:creationId xmlns:a16="http://schemas.microsoft.com/office/drawing/2014/main" id="{65412C40-84DB-4B62-BB5E-3AD8F300C66C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3156944" y="2438422"/>
            <a:ext cx="1885950" cy="828000"/>
          </a:xfrm>
          <a:prstGeom prst="chevron">
            <a:avLst>
              <a:gd name="adj" fmla="val 19614"/>
            </a:avLst>
          </a:prstGeom>
          <a:solidFill>
            <a:srgbClr val="8A004A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 lIns="72000" tIns="36000" rIns="72000" bIns="36000" rtlCol="0" anchor="ctr"/>
          <a:lstStyle/>
          <a:p>
            <a:pPr algn="ctr" defTabSz="933257" fontAlgn="base">
              <a:spcBef>
                <a:spcPct val="0"/>
              </a:spcBef>
              <a:spcAft>
                <a:spcPct val="0"/>
              </a:spcAft>
            </a:pPr>
            <a:r>
              <a:rPr lang="es-ES_tradnl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aso II </a:t>
            </a:r>
          </a:p>
          <a:p>
            <a:pPr algn="ctr" defTabSz="933257" fontAlgn="base">
              <a:spcBef>
                <a:spcPct val="0"/>
              </a:spcBef>
              <a:spcAft>
                <a:spcPct val="0"/>
              </a:spcAft>
            </a:pPr>
            <a:r>
              <a:rPr lang="es-ES_tradnl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OSTURA</a:t>
            </a:r>
          </a:p>
        </p:txBody>
      </p:sp>
      <p:sp>
        <p:nvSpPr>
          <p:cNvPr id="38" name="Chevron 57">
            <a:extLst>
              <a:ext uri="{FF2B5EF4-FFF2-40B4-BE49-F238E27FC236}">
                <a16:creationId xmlns:a16="http://schemas.microsoft.com/office/drawing/2014/main" id="{545B56B5-39E4-47F4-99BE-0C5BD571A6E4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5198609" y="2438422"/>
            <a:ext cx="1885950" cy="828000"/>
          </a:xfrm>
          <a:prstGeom prst="chevron">
            <a:avLst>
              <a:gd name="adj" fmla="val 19614"/>
            </a:avLst>
          </a:prstGeom>
          <a:solidFill>
            <a:srgbClr val="8A004A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 lIns="72000" tIns="36000" rIns="72000" bIns="36000" rtlCol="0" anchor="ctr"/>
          <a:lstStyle/>
          <a:p>
            <a:pPr algn="ctr" defTabSz="933257" fontAlgn="base">
              <a:spcBef>
                <a:spcPct val="0"/>
              </a:spcBef>
              <a:spcAft>
                <a:spcPct val="0"/>
              </a:spcAft>
            </a:pPr>
            <a:r>
              <a:rPr lang="es-ES_tradnl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aso III </a:t>
            </a:r>
          </a:p>
          <a:p>
            <a:pPr algn="ctr" defTabSz="933257" fontAlgn="base">
              <a:spcBef>
                <a:spcPct val="0"/>
              </a:spcBef>
              <a:spcAft>
                <a:spcPct val="0"/>
              </a:spcAft>
            </a:pPr>
            <a:r>
              <a:rPr lang="es-ES_tradnl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FUERZA</a:t>
            </a:r>
          </a:p>
        </p:txBody>
      </p:sp>
      <p:sp>
        <p:nvSpPr>
          <p:cNvPr id="39" name="Chevron 57">
            <a:extLst>
              <a:ext uri="{FF2B5EF4-FFF2-40B4-BE49-F238E27FC236}">
                <a16:creationId xmlns:a16="http://schemas.microsoft.com/office/drawing/2014/main" id="{9BFEE82F-A400-4158-A5C6-20931A7E6C9D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9281939" y="2438422"/>
            <a:ext cx="1885950" cy="828000"/>
          </a:xfrm>
          <a:prstGeom prst="chevron">
            <a:avLst>
              <a:gd name="adj" fmla="val 19614"/>
            </a:avLst>
          </a:prstGeom>
          <a:solidFill>
            <a:srgbClr val="004A5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 lIns="72000" tIns="36000" rIns="72000" bIns="36000" rtlCol="0" anchor="ctr"/>
          <a:lstStyle/>
          <a:p>
            <a:pPr algn="ctr" defTabSz="933257" fontAlgn="base">
              <a:spcBef>
                <a:spcPct val="0"/>
              </a:spcBef>
              <a:spcAft>
                <a:spcPct val="0"/>
              </a:spcAft>
            </a:pPr>
            <a:r>
              <a:rPr lang="es-ES_tradnl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aso V </a:t>
            </a:r>
          </a:p>
          <a:p>
            <a:pPr algn="ctr" defTabSz="933257" fontAlgn="base">
              <a:spcBef>
                <a:spcPct val="0"/>
              </a:spcBef>
              <a:spcAft>
                <a:spcPct val="0"/>
              </a:spcAft>
            </a:pPr>
            <a:r>
              <a:rPr lang="es-ES_tradnl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FACTORES ADICIONALES Y PSICOSOCIALES</a:t>
            </a:r>
          </a:p>
        </p:txBody>
      </p:sp>
      <p:pic>
        <p:nvPicPr>
          <p:cNvPr id="40" name="Gráfico 54">
            <a:extLst>
              <a:ext uri="{FF2B5EF4-FFF2-40B4-BE49-F238E27FC236}">
                <a16:creationId xmlns:a16="http://schemas.microsoft.com/office/drawing/2014/main" id="{24295F03-BE71-46EB-ADC3-4DE920AA3FA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flipH="1">
            <a:off x="7562272" y="3772171"/>
            <a:ext cx="1407992" cy="1407992"/>
          </a:xfrm>
          <a:prstGeom prst="rect">
            <a:avLst/>
          </a:prstGeom>
        </p:spPr>
      </p:pic>
      <p:pic>
        <p:nvPicPr>
          <p:cNvPr id="41" name="Gráfico 107">
            <a:extLst>
              <a:ext uri="{FF2B5EF4-FFF2-40B4-BE49-F238E27FC236}">
                <a16:creationId xmlns:a16="http://schemas.microsoft.com/office/drawing/2014/main" id="{1D7A7FC5-9EEF-4C92-91E7-2CD26E2FF6B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716596" y="4009915"/>
            <a:ext cx="1045892" cy="1045892"/>
          </a:xfrm>
          <a:prstGeom prst="rect">
            <a:avLst/>
          </a:prstGeom>
        </p:spPr>
      </p:pic>
      <p:pic>
        <p:nvPicPr>
          <p:cNvPr id="42" name="Imagen 41">
            <a:extLst>
              <a:ext uri="{FF2B5EF4-FFF2-40B4-BE49-F238E27FC236}">
                <a16:creationId xmlns:a16="http://schemas.microsoft.com/office/drawing/2014/main" id="{0DF4A158-AD7E-4463-B2D1-C48F41DFC16A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115279" y="3510371"/>
            <a:ext cx="1577887" cy="2147278"/>
          </a:xfrm>
          <a:prstGeom prst="rect">
            <a:avLst/>
          </a:prstGeom>
        </p:spPr>
      </p:pic>
      <p:pic>
        <p:nvPicPr>
          <p:cNvPr id="43" name="Imagen 42">
            <a:extLst>
              <a:ext uri="{FF2B5EF4-FFF2-40B4-BE49-F238E27FC236}">
                <a16:creationId xmlns:a16="http://schemas.microsoft.com/office/drawing/2014/main" id="{A4C4E112-A01A-49A3-9AE2-060A88039C4D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 rot="5400000">
            <a:off x="5061101" y="4202763"/>
            <a:ext cx="2174354" cy="789570"/>
          </a:xfrm>
          <a:prstGeom prst="rect">
            <a:avLst/>
          </a:prstGeom>
        </p:spPr>
      </p:pic>
      <p:pic>
        <p:nvPicPr>
          <p:cNvPr id="44" name="Imagen 43">
            <a:extLst>
              <a:ext uri="{FF2B5EF4-FFF2-40B4-BE49-F238E27FC236}">
                <a16:creationId xmlns:a16="http://schemas.microsoft.com/office/drawing/2014/main" id="{AC54DE44-0284-4422-A356-2EE3547BCE68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156944" y="3510371"/>
            <a:ext cx="1746524" cy="1765717"/>
          </a:xfrm>
          <a:prstGeom prst="rect">
            <a:avLst/>
          </a:prstGeom>
        </p:spPr>
      </p:pic>
      <p:sp>
        <p:nvSpPr>
          <p:cNvPr id="45" name="Rectangle 9">
            <a:extLst>
              <a:ext uri="{FF2B5EF4-FFF2-40B4-BE49-F238E27FC236}">
                <a16:creationId xmlns:a16="http://schemas.microsoft.com/office/drawing/2014/main" id="{A2387F21-99EE-4CB1-8F03-41F198514C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65847" y="5878855"/>
            <a:ext cx="8375292" cy="52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516" tIns="45258" rIns="90516" bIns="45258">
            <a:spAutoFit/>
          </a:bodyPr>
          <a:lstStyle/>
          <a:p>
            <a:pPr marL="339437" indent="-339437" algn="ctr" defTabSz="914400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</a:pPr>
            <a:r>
              <a:rPr lang="es-CL" sz="1400" b="1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Riesgo “Rojo” en cualquiera de los tres primeros pasos define al grupo de trabajadores que se desempeñan en la tarea evaluada como “expuestos a TMERT”</a:t>
            </a:r>
            <a:endParaRPr lang="en-US" sz="1400" b="1" dirty="0">
              <a:solidFill>
                <a:schemeClr val="tx2"/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3062083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/>
      <p:bldP spid="35" grpId="0" animBg="1"/>
      <p:bldP spid="36" grpId="0" animBg="1"/>
      <p:bldP spid="37" grpId="0" animBg="1"/>
      <p:bldP spid="38" grpId="0" animBg="1"/>
      <p:bldP spid="39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C37361C2-7D8D-F148-AE62-17BED1F4FE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C37361C2-7D8D-F148-AE62-17BED1F4FE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Marcador de texto 23">
            <a:extLst>
              <a:ext uri="{FF2B5EF4-FFF2-40B4-BE49-F238E27FC236}">
                <a16:creationId xmlns:a16="http://schemas.microsoft.com/office/drawing/2014/main" id="{42B9B605-B12F-6147-BFF4-BCAF18B25A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_tradnl" dirty="0"/>
              <a:t>Implementación TMERT</a:t>
            </a:r>
          </a:p>
        </p:txBody>
      </p:sp>
      <p:sp>
        <p:nvSpPr>
          <p:cNvPr id="25" name="Marcador de texto 24">
            <a:extLst>
              <a:ext uri="{FF2B5EF4-FFF2-40B4-BE49-F238E27FC236}">
                <a16:creationId xmlns:a16="http://schemas.microsoft.com/office/drawing/2014/main" id="{895E7C57-E423-7444-A1F9-CACBB7D8C0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s-ES_tradnl" dirty="0"/>
              <a:t>Aplicar Lista de Chequeo TMERT MINSAL (2011)</a:t>
            </a:r>
          </a:p>
        </p:txBody>
      </p:sp>
      <p:sp>
        <p:nvSpPr>
          <p:cNvPr id="33" name="Marcador de número de diapositiva 32">
            <a:extLst>
              <a:ext uri="{FF2B5EF4-FFF2-40B4-BE49-F238E27FC236}">
                <a16:creationId xmlns:a16="http://schemas.microsoft.com/office/drawing/2014/main" id="{D771257B-5667-DF49-BB0E-ADFCDD355D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480326" y="6330732"/>
            <a:ext cx="1844164" cy="365125"/>
          </a:xfrm>
        </p:spPr>
        <p:txBody>
          <a:bodyPr/>
          <a:lstStyle/>
          <a:p>
            <a:fld id="{B37290F3-BA30-9341-A10E-737EC97582C1}" type="slidenum">
              <a:rPr lang="es-CL" smtClean="0"/>
              <a:pPr/>
              <a:t>19</a:t>
            </a:fld>
            <a:endParaRPr lang="es-CL" dirty="0"/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2482FFCF-7CAE-4293-8FC9-73A643CC02A0}"/>
              </a:ext>
            </a:extLst>
          </p:cNvPr>
          <p:cNvSpPr/>
          <p:nvPr/>
        </p:nvSpPr>
        <p:spPr>
          <a:xfrm>
            <a:off x="3870322" y="2013142"/>
            <a:ext cx="368527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/>
            <a:r>
              <a:rPr lang="es-CL" sz="2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LTADOS</a:t>
            </a: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B099E1D2-023C-4309-BFED-D64E07CD0E5C}"/>
              </a:ext>
            </a:extLst>
          </p:cNvPr>
          <p:cNvSpPr/>
          <p:nvPr/>
        </p:nvSpPr>
        <p:spPr>
          <a:xfrm>
            <a:off x="2557105" y="2904039"/>
            <a:ext cx="1900954" cy="369332"/>
          </a:xfrm>
          <a:prstGeom prst="rect">
            <a:avLst/>
          </a:prstGeom>
          <a:solidFill>
            <a:srgbClr val="1B7D4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CC0EA4D9-FAF3-42A1-9CF2-BFCBBE53DBD2}"/>
              </a:ext>
            </a:extLst>
          </p:cNvPr>
          <p:cNvSpPr/>
          <p:nvPr/>
        </p:nvSpPr>
        <p:spPr>
          <a:xfrm>
            <a:off x="2662394" y="2904038"/>
            <a:ext cx="169037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b="1" dirty="0">
                <a:solidFill>
                  <a:schemeClr val="bg1"/>
                </a:solidFill>
                <a:latin typeface="Arial"/>
                <a:ea typeface="+mj-ea"/>
                <a:cs typeface="Arial"/>
              </a:rPr>
              <a:t>VERDE </a:t>
            </a: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84A0D167-68DA-41AA-945C-4898C99FE27F}"/>
              </a:ext>
            </a:extLst>
          </p:cNvPr>
          <p:cNvSpPr/>
          <p:nvPr/>
        </p:nvSpPr>
        <p:spPr>
          <a:xfrm>
            <a:off x="2557105" y="3470802"/>
            <a:ext cx="201180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eaLnBrk="0" hangingPunct="0">
              <a:defRPr/>
            </a:pPr>
            <a:r>
              <a:rPr lang="es-CL" sz="1400" kern="0" dirty="0">
                <a:solidFill>
                  <a:srgbClr val="004A52"/>
                </a:solidFill>
                <a:latin typeface="Arial"/>
                <a:ea typeface="SimHei" panose="02010609060101010101" pitchFamily="49" charset="-122"/>
                <a:cs typeface="Arial" pitchFamily="34" charset="0"/>
              </a:rPr>
              <a:t> </a:t>
            </a:r>
          </a:p>
          <a:p>
            <a:pPr lvl="0" defTabSz="914400" eaLnBrk="0" hangingPunct="0">
              <a:defRPr/>
            </a:pPr>
            <a:endParaRPr lang="es-CL" sz="1400" kern="0" dirty="0">
              <a:solidFill>
                <a:srgbClr val="004A52"/>
              </a:solidFill>
              <a:latin typeface="Arial"/>
              <a:ea typeface="SimHei" panose="02010609060101010101" pitchFamily="49" charset="-122"/>
              <a:cs typeface="Arial" pitchFamily="34" charset="0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A0CD4BE5-CA24-4666-BF13-DE6D7EEF9ED9}"/>
              </a:ext>
            </a:extLst>
          </p:cNvPr>
          <p:cNvSpPr/>
          <p:nvPr/>
        </p:nvSpPr>
        <p:spPr>
          <a:xfrm>
            <a:off x="4812345" y="3572763"/>
            <a:ext cx="2011804" cy="20867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hangingPunct="0">
              <a:defRPr/>
            </a:pPr>
            <a:r>
              <a:rPr lang="es-CL" sz="1600" dirty="0"/>
              <a:t>Existe el factor de riesgo en una criticidad media y debe ser corregido. Tiene un plazo de 6 meses para implementar medidas y </a:t>
            </a:r>
            <a:r>
              <a:rPr lang="es-CL" sz="1600" dirty="0" err="1"/>
              <a:t>re-evaluar</a:t>
            </a:r>
            <a:r>
              <a:rPr lang="es-CL" sz="1600" dirty="0"/>
              <a:t>. </a:t>
            </a:r>
            <a:endParaRPr lang="es-CL" sz="1600" kern="0" dirty="0">
              <a:solidFill>
                <a:srgbClr val="004A52"/>
              </a:solidFill>
              <a:latin typeface="Arial"/>
              <a:ea typeface="SimHei" panose="02010609060101010101" pitchFamily="49" charset="-122"/>
              <a:cs typeface="Arial" pitchFamily="34" charset="0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CAE8707B-F5FD-410F-A93E-3CDE34834C9D}"/>
              </a:ext>
            </a:extLst>
          </p:cNvPr>
          <p:cNvSpPr/>
          <p:nvPr/>
        </p:nvSpPr>
        <p:spPr>
          <a:xfrm>
            <a:off x="7137387" y="3572763"/>
            <a:ext cx="2026182" cy="20867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hangingPunct="0">
              <a:defRPr/>
            </a:pPr>
            <a:r>
              <a:rPr lang="es-CL" sz="1600" dirty="0"/>
              <a:t>Existe el factor de riesgo y la condición de exposición en el tiempo está en un nivel crítico (no aceptable) y debe ser corregido en un plazo que no supere los 3 meses. </a:t>
            </a:r>
            <a:endParaRPr lang="es-CL" sz="1600" kern="0" dirty="0">
              <a:solidFill>
                <a:srgbClr val="004A52"/>
              </a:solidFill>
              <a:latin typeface="Arial"/>
              <a:ea typeface="SimHei" panose="02010609060101010101" pitchFamily="49" charset="-122"/>
              <a:cs typeface="Arial" pitchFamily="34" charset="0"/>
            </a:endParaRP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id="{174AE6FF-94B5-4260-8B64-4D7017FF9427}"/>
              </a:ext>
            </a:extLst>
          </p:cNvPr>
          <p:cNvSpPr/>
          <p:nvPr/>
        </p:nvSpPr>
        <p:spPr>
          <a:xfrm>
            <a:off x="4812345" y="2904039"/>
            <a:ext cx="1900954" cy="369332"/>
          </a:xfrm>
          <a:prstGeom prst="rect">
            <a:avLst/>
          </a:prstGeom>
          <a:solidFill>
            <a:srgbClr val="FFF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id="{BF88F3BF-A329-49EE-8AD0-6C3D569E0CEF}"/>
              </a:ext>
            </a:extLst>
          </p:cNvPr>
          <p:cNvSpPr/>
          <p:nvPr/>
        </p:nvSpPr>
        <p:spPr>
          <a:xfrm>
            <a:off x="4917634" y="2904038"/>
            <a:ext cx="1795665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b="1" dirty="0">
                <a:solidFill>
                  <a:schemeClr val="accent1">
                    <a:lumMod val="50000"/>
                  </a:schemeClr>
                </a:solidFill>
                <a:latin typeface="Arial"/>
                <a:cs typeface="Arial"/>
              </a:rPr>
              <a:t>AMARILLO</a:t>
            </a: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D9A267E5-AE46-4205-818A-6EEA7FC56286}"/>
              </a:ext>
            </a:extLst>
          </p:cNvPr>
          <p:cNvSpPr/>
          <p:nvPr/>
        </p:nvSpPr>
        <p:spPr>
          <a:xfrm>
            <a:off x="7137387" y="2904039"/>
            <a:ext cx="1900954" cy="369332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id="{7A5A65CE-7A51-4706-8A33-A26F7CCD1951}"/>
              </a:ext>
            </a:extLst>
          </p:cNvPr>
          <p:cNvSpPr/>
          <p:nvPr/>
        </p:nvSpPr>
        <p:spPr>
          <a:xfrm>
            <a:off x="7242676" y="2904038"/>
            <a:ext cx="169037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b="1" dirty="0">
                <a:solidFill>
                  <a:schemeClr val="bg1"/>
                </a:solidFill>
                <a:latin typeface="Arial"/>
                <a:cs typeface="Arial"/>
              </a:rPr>
              <a:t>ROJO</a:t>
            </a:r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id="{B1FAB836-0D25-421E-AE0F-F1036A4B5D8C}"/>
              </a:ext>
            </a:extLst>
          </p:cNvPr>
          <p:cNvSpPr/>
          <p:nvPr/>
        </p:nvSpPr>
        <p:spPr>
          <a:xfrm>
            <a:off x="2609749" y="3505589"/>
            <a:ext cx="1795666" cy="18651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1600" dirty="0">
                <a:solidFill>
                  <a:srgbClr val="000000"/>
                </a:solidFill>
              </a:rPr>
              <a:t>La condición observada no significa riesgo, por lo que su ejecución puede ser mantenida y re- evaluar cada 3 años. </a:t>
            </a:r>
            <a:endParaRPr lang="es-CL" sz="1600" dirty="0"/>
          </a:p>
        </p:txBody>
      </p:sp>
    </p:spTree>
    <p:extLst>
      <p:ext uri="{BB962C8B-B14F-4D97-AF65-F5344CB8AC3E}">
        <p14:creationId xmlns:p14="http://schemas.microsoft.com/office/powerpoint/2010/main" val="1831839434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32B5D6E2-F85D-EB41-8794-9ED4EE6ED8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Contenidos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D700E27B-9B0F-5F42-882E-DF36EE45B0C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s-ES_tradnl" dirty="0"/>
              <a:t>Introducción</a:t>
            </a:r>
          </a:p>
        </p:txBody>
      </p:sp>
      <p:sp>
        <p:nvSpPr>
          <p:cNvPr id="9" name="Marcador de texto 8">
            <a:extLst>
              <a:ext uri="{FF2B5EF4-FFF2-40B4-BE49-F238E27FC236}">
                <a16:creationId xmlns:a16="http://schemas.microsoft.com/office/drawing/2014/main" id="{2412CBF5-EF4C-AC42-A42B-CAD2B4C404A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s-ES_tradnl" dirty="0"/>
              <a:t>Factores de riesgo TMERT</a:t>
            </a:r>
          </a:p>
        </p:txBody>
      </p:sp>
      <p:sp>
        <p:nvSpPr>
          <p:cNvPr id="10" name="Marcador de texto 9">
            <a:extLst>
              <a:ext uri="{FF2B5EF4-FFF2-40B4-BE49-F238E27FC236}">
                <a16:creationId xmlns:a16="http://schemas.microsoft.com/office/drawing/2014/main" id="{D49A59EF-B488-EE44-AADB-A44A8EB11EA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s-ES_tradnl" dirty="0"/>
              <a:t>Protocolo TMERT EESS</a:t>
            </a:r>
          </a:p>
        </p:txBody>
      </p:sp>
      <p:sp>
        <p:nvSpPr>
          <p:cNvPr id="11" name="Marcador de texto 10">
            <a:extLst>
              <a:ext uri="{FF2B5EF4-FFF2-40B4-BE49-F238E27FC236}">
                <a16:creationId xmlns:a16="http://schemas.microsoft.com/office/drawing/2014/main" id="{7FF6FEF6-E884-0646-9AED-71D2ADBE91F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s-ES_tradnl" dirty="0"/>
              <a:t>Implementación protocolo</a:t>
            </a:r>
          </a:p>
        </p:txBody>
      </p:sp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276EB8BF-7057-F141-A66C-8C67F1D1290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s-ES_tradnl" dirty="0"/>
              <a:t>Asistencia Técnica ACHS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B513E64-4CFA-9745-BDD3-826E55684F4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920177" y="6463752"/>
            <a:ext cx="1844164" cy="365125"/>
          </a:xfrm>
        </p:spPr>
        <p:txBody>
          <a:bodyPr/>
          <a:lstStyle/>
          <a:p>
            <a:fld id="{B37290F3-BA30-9341-A10E-737EC97582C1}" type="slidenum">
              <a:rPr lang="es-CL" smtClean="0"/>
              <a:pPr/>
              <a:t>2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071240829"/>
      </p:ext>
    </p:extLst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C37361C2-7D8D-F148-AE62-17BED1F4FE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C37361C2-7D8D-F148-AE62-17BED1F4FE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Marcador de texto 23">
            <a:extLst>
              <a:ext uri="{FF2B5EF4-FFF2-40B4-BE49-F238E27FC236}">
                <a16:creationId xmlns:a16="http://schemas.microsoft.com/office/drawing/2014/main" id="{42B9B605-B12F-6147-BFF4-BCAF18B25A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_tradnl" dirty="0"/>
              <a:t>Implementación TMERT</a:t>
            </a:r>
          </a:p>
        </p:txBody>
      </p:sp>
      <p:sp>
        <p:nvSpPr>
          <p:cNvPr id="25" name="Marcador de texto 24">
            <a:extLst>
              <a:ext uri="{FF2B5EF4-FFF2-40B4-BE49-F238E27FC236}">
                <a16:creationId xmlns:a16="http://schemas.microsoft.com/office/drawing/2014/main" id="{895E7C57-E423-7444-A1F9-CACBB7D8C0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s-ES_tradnl" dirty="0"/>
              <a:t>Aplicar Lista de Chequeo TMERT MINSAL (2011)</a:t>
            </a:r>
          </a:p>
        </p:txBody>
      </p:sp>
      <p:sp>
        <p:nvSpPr>
          <p:cNvPr id="33" name="Marcador de número de diapositiva 32">
            <a:extLst>
              <a:ext uri="{FF2B5EF4-FFF2-40B4-BE49-F238E27FC236}">
                <a16:creationId xmlns:a16="http://schemas.microsoft.com/office/drawing/2014/main" id="{D771257B-5667-DF49-BB0E-ADFCDD355D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480326" y="6330732"/>
            <a:ext cx="1844164" cy="365125"/>
          </a:xfrm>
        </p:spPr>
        <p:txBody>
          <a:bodyPr/>
          <a:lstStyle/>
          <a:p>
            <a:fld id="{B37290F3-BA30-9341-A10E-737EC97582C1}" type="slidenum">
              <a:rPr lang="es-CL" smtClean="0"/>
              <a:pPr/>
              <a:t>20</a:t>
            </a:fld>
            <a:endParaRPr lang="es-CL" dirty="0"/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AE75711C-53E3-4E55-9207-7E0C75B5F16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47984" y="1327297"/>
            <a:ext cx="9088836" cy="4203405"/>
          </a:xfrm>
          <a:prstGeom prst="rect">
            <a:avLst/>
          </a:prstGeom>
        </p:spPr>
      </p:pic>
      <p:sp>
        <p:nvSpPr>
          <p:cNvPr id="31" name="Rectangle 9">
            <a:extLst>
              <a:ext uri="{FF2B5EF4-FFF2-40B4-BE49-F238E27FC236}">
                <a16:creationId xmlns:a16="http://schemas.microsoft.com/office/drawing/2014/main" id="{D582E45B-CA61-4E36-9E76-29279D65EF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42823" y="5668024"/>
            <a:ext cx="8375292" cy="52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516" tIns="45258" rIns="90516" bIns="45258">
            <a:spAutoFit/>
          </a:bodyPr>
          <a:lstStyle/>
          <a:p>
            <a:pPr marL="339437" indent="-339437" algn="ctr" defTabSz="914400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</a:pPr>
            <a:r>
              <a:rPr lang="es-CL" sz="1400" b="1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Una vez levantado el nivel de riesgo de los puestos de trabajo/tareas se deben generar medidas correctivas (plan de acción) y enviar los resultados al mail protocolotmert@achs.cl</a:t>
            </a:r>
            <a:endParaRPr lang="en-US" sz="1400" b="1" dirty="0">
              <a:solidFill>
                <a:schemeClr val="tx2"/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0397944"/>
      </p:ext>
    </p:extLst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C37361C2-7D8D-F148-AE62-17BED1F4FE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C37361C2-7D8D-F148-AE62-17BED1F4FE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Marcador de texto 23">
            <a:extLst>
              <a:ext uri="{FF2B5EF4-FFF2-40B4-BE49-F238E27FC236}">
                <a16:creationId xmlns:a16="http://schemas.microsoft.com/office/drawing/2014/main" id="{42B9B605-B12F-6147-BFF4-BCAF18B25A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_tradnl" dirty="0"/>
              <a:t>Implementación TMERT</a:t>
            </a:r>
          </a:p>
        </p:txBody>
      </p:sp>
      <p:sp>
        <p:nvSpPr>
          <p:cNvPr id="25" name="Marcador de texto 24">
            <a:extLst>
              <a:ext uri="{FF2B5EF4-FFF2-40B4-BE49-F238E27FC236}">
                <a16:creationId xmlns:a16="http://schemas.microsoft.com/office/drawing/2014/main" id="{895E7C57-E423-7444-A1F9-CACBB7D8C0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s-ES_tradnl" dirty="0"/>
              <a:t>Implementar medidas de control </a:t>
            </a:r>
          </a:p>
        </p:txBody>
      </p:sp>
      <p:sp>
        <p:nvSpPr>
          <p:cNvPr id="33" name="Marcador de número de diapositiva 32">
            <a:extLst>
              <a:ext uri="{FF2B5EF4-FFF2-40B4-BE49-F238E27FC236}">
                <a16:creationId xmlns:a16="http://schemas.microsoft.com/office/drawing/2014/main" id="{D771257B-5667-DF49-BB0E-ADFCDD355D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480326" y="6330732"/>
            <a:ext cx="1844164" cy="365125"/>
          </a:xfrm>
        </p:spPr>
        <p:txBody>
          <a:bodyPr/>
          <a:lstStyle/>
          <a:p>
            <a:fld id="{B37290F3-BA30-9341-A10E-737EC97582C1}" type="slidenum">
              <a:rPr lang="es-CL" smtClean="0"/>
              <a:pPr/>
              <a:t>21</a:t>
            </a:fld>
            <a:endParaRPr lang="es-CL" dirty="0"/>
          </a:p>
        </p:txBody>
      </p:sp>
      <p:sp>
        <p:nvSpPr>
          <p:cNvPr id="31" name="Rectangle 9">
            <a:extLst>
              <a:ext uri="{FF2B5EF4-FFF2-40B4-BE49-F238E27FC236}">
                <a16:creationId xmlns:a16="http://schemas.microsoft.com/office/drawing/2014/main" id="{D582E45B-CA61-4E36-9E76-29279D65EF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7510" y="6024307"/>
            <a:ext cx="9887034" cy="52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516" tIns="45258" rIns="90516" bIns="45258">
            <a:spAutoFit/>
          </a:bodyPr>
          <a:lstStyle/>
          <a:p>
            <a:pPr marL="339437" indent="-339437" algn="ctr" defTabSz="914400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</a:pPr>
            <a:r>
              <a:rPr lang="es-CL" sz="1400" b="1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“Como criterio para tareas altamente repetitivas la relación trabajo: descanso debe mantener una relación 5:1, es decir por 50 minutos de trabajo continuo entre 8 a 10 minutos de descanso”</a:t>
            </a:r>
            <a:endParaRPr lang="en-US" sz="1400" b="1" dirty="0">
              <a:solidFill>
                <a:schemeClr val="tx2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AF84D162-3F4C-45C9-B755-08881DACFE15}"/>
              </a:ext>
            </a:extLst>
          </p:cNvPr>
          <p:cNvSpPr/>
          <p:nvPr/>
        </p:nvSpPr>
        <p:spPr>
          <a:xfrm>
            <a:off x="2164220" y="1455387"/>
            <a:ext cx="2530666" cy="369332"/>
          </a:xfrm>
          <a:prstGeom prst="rect">
            <a:avLst/>
          </a:prstGeom>
          <a:solidFill>
            <a:srgbClr val="1B7D4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72D07ACB-1625-460F-9286-063B8514E0ED}"/>
              </a:ext>
            </a:extLst>
          </p:cNvPr>
          <p:cNvSpPr/>
          <p:nvPr/>
        </p:nvSpPr>
        <p:spPr>
          <a:xfrm>
            <a:off x="2269509" y="1455386"/>
            <a:ext cx="2736272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b="1" dirty="0">
                <a:solidFill>
                  <a:schemeClr val="bg1"/>
                </a:solidFill>
                <a:latin typeface="Arial"/>
                <a:ea typeface="+mj-ea"/>
                <a:cs typeface="Arial"/>
              </a:rPr>
              <a:t>Pausas descanso</a:t>
            </a:r>
          </a:p>
        </p:txBody>
      </p:sp>
      <p:pic>
        <p:nvPicPr>
          <p:cNvPr id="10" name="Gráfico 74">
            <a:extLst>
              <a:ext uri="{FF2B5EF4-FFF2-40B4-BE49-F238E27FC236}">
                <a16:creationId xmlns:a16="http://schemas.microsoft.com/office/drawing/2014/main" id="{7813D341-0450-4CD2-AA31-CAA7CAFB469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flipH="1">
            <a:off x="1450988" y="1328260"/>
            <a:ext cx="641391" cy="641391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3F7199F1-5D7B-4AA7-B5DA-B5D024EA6D3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70882" y="4465176"/>
            <a:ext cx="9059609" cy="1559131"/>
          </a:xfrm>
          <a:prstGeom prst="rect">
            <a:avLst/>
          </a:prstGeom>
        </p:spPr>
      </p:pic>
      <p:pic>
        <p:nvPicPr>
          <p:cNvPr id="12" name="Picture 8" descr="Tiempos modernos (Charles Chaplin,1936)">
            <a:extLst>
              <a:ext uri="{FF2B5EF4-FFF2-40B4-BE49-F238E27FC236}">
                <a16:creationId xmlns:a16="http://schemas.microsoft.com/office/drawing/2014/main" id="{78A33A8E-5668-4A28-86BA-65900C8F70B9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1139" y="2120085"/>
            <a:ext cx="3853972" cy="21659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830288B1-75ED-4F7E-9AC5-E3D94160F51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00687" y="2114317"/>
            <a:ext cx="4105275" cy="217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0962390"/>
      </p:ext>
    </p:extLst>
  </p:cSld>
  <p:clrMapOvr>
    <a:masterClrMapping/>
  </p:clrMapOvr>
  <p:transition spd="med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C37361C2-7D8D-F148-AE62-17BED1F4FE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C37361C2-7D8D-F148-AE62-17BED1F4FE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Marcador de texto 23">
            <a:extLst>
              <a:ext uri="{FF2B5EF4-FFF2-40B4-BE49-F238E27FC236}">
                <a16:creationId xmlns:a16="http://schemas.microsoft.com/office/drawing/2014/main" id="{42B9B605-B12F-6147-BFF4-BCAF18B25A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_tradnl" dirty="0"/>
              <a:t>Implementación TMERT</a:t>
            </a:r>
          </a:p>
        </p:txBody>
      </p:sp>
      <p:sp>
        <p:nvSpPr>
          <p:cNvPr id="25" name="Marcador de texto 24">
            <a:extLst>
              <a:ext uri="{FF2B5EF4-FFF2-40B4-BE49-F238E27FC236}">
                <a16:creationId xmlns:a16="http://schemas.microsoft.com/office/drawing/2014/main" id="{895E7C57-E423-7444-A1F9-CACBB7D8C0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s-ES_tradnl" dirty="0"/>
              <a:t>Implementar medidas de control </a:t>
            </a:r>
          </a:p>
        </p:txBody>
      </p:sp>
      <p:sp>
        <p:nvSpPr>
          <p:cNvPr id="33" name="Marcador de número de diapositiva 32">
            <a:extLst>
              <a:ext uri="{FF2B5EF4-FFF2-40B4-BE49-F238E27FC236}">
                <a16:creationId xmlns:a16="http://schemas.microsoft.com/office/drawing/2014/main" id="{D771257B-5667-DF49-BB0E-ADFCDD355D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480326" y="6330732"/>
            <a:ext cx="1844164" cy="365125"/>
          </a:xfrm>
        </p:spPr>
        <p:txBody>
          <a:bodyPr/>
          <a:lstStyle/>
          <a:p>
            <a:fld id="{B37290F3-BA30-9341-A10E-737EC97582C1}" type="slidenum">
              <a:rPr lang="es-CL" smtClean="0"/>
              <a:pPr/>
              <a:t>22</a:t>
            </a:fld>
            <a:endParaRPr lang="es-CL" dirty="0"/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9C5B4ED3-39EB-4172-A3F8-0CE309F6A5E1}"/>
              </a:ext>
            </a:extLst>
          </p:cNvPr>
          <p:cNvSpPr/>
          <p:nvPr/>
        </p:nvSpPr>
        <p:spPr>
          <a:xfrm>
            <a:off x="2208642" y="1654812"/>
            <a:ext cx="2530666" cy="369332"/>
          </a:xfrm>
          <a:prstGeom prst="rect">
            <a:avLst/>
          </a:prstGeom>
          <a:solidFill>
            <a:srgbClr val="1B7D4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1948AE05-3AAD-4B33-88C6-BCB03E654624}"/>
              </a:ext>
            </a:extLst>
          </p:cNvPr>
          <p:cNvSpPr/>
          <p:nvPr/>
        </p:nvSpPr>
        <p:spPr>
          <a:xfrm>
            <a:off x="2313931" y="1654811"/>
            <a:ext cx="2736272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b="1" dirty="0">
                <a:solidFill>
                  <a:schemeClr val="bg1"/>
                </a:solidFill>
                <a:latin typeface="Arial"/>
                <a:ea typeface="+mj-ea"/>
                <a:cs typeface="Arial"/>
              </a:rPr>
              <a:t>Rotación tareas</a:t>
            </a:r>
          </a:p>
        </p:txBody>
      </p:sp>
      <p:pic>
        <p:nvPicPr>
          <p:cNvPr id="16" name="Gráfico 16">
            <a:extLst>
              <a:ext uri="{FF2B5EF4-FFF2-40B4-BE49-F238E27FC236}">
                <a16:creationId xmlns:a16="http://schemas.microsoft.com/office/drawing/2014/main" id="{EE343728-8673-464A-9E5B-97133D17161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472088" y="1527382"/>
            <a:ext cx="641391" cy="641391"/>
          </a:xfrm>
          <a:prstGeom prst="rect">
            <a:avLst/>
          </a:prstGeom>
        </p:spPr>
      </p:pic>
      <p:sp>
        <p:nvSpPr>
          <p:cNvPr id="17" name="Elipse 16">
            <a:extLst>
              <a:ext uri="{FF2B5EF4-FFF2-40B4-BE49-F238E27FC236}">
                <a16:creationId xmlns:a16="http://schemas.microsoft.com/office/drawing/2014/main" id="{FC084553-AA92-442E-9C72-53BFEB65D818}"/>
              </a:ext>
            </a:extLst>
          </p:cNvPr>
          <p:cNvSpPr/>
          <p:nvPr/>
        </p:nvSpPr>
        <p:spPr>
          <a:xfrm>
            <a:off x="1648226" y="2577499"/>
            <a:ext cx="3076058" cy="3064798"/>
          </a:xfrm>
          <a:prstGeom prst="ellipse">
            <a:avLst/>
          </a:prstGeom>
          <a:solidFill>
            <a:srgbClr val="9DC4E7"/>
          </a:solidFill>
          <a:ln w="12700">
            <a:noFill/>
            <a:miter lim="800000"/>
            <a:headEnd/>
            <a:tailEnd/>
          </a:ln>
          <a:effectLst/>
        </p:spPr>
        <p:txBody>
          <a:bodyPr lIns="72000" tIns="36000" rIns="72000" bIns="36000" rtlCol="0" anchor="ctr"/>
          <a:lstStyle/>
          <a:p>
            <a:pPr algn="ctr" defTabSz="933257" fontAlgn="base">
              <a:spcBef>
                <a:spcPct val="0"/>
              </a:spcBef>
              <a:spcAft>
                <a:spcPct val="0"/>
              </a:spcAft>
            </a:pPr>
            <a:r>
              <a:rPr lang="es-CL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TIQUETAR</a:t>
            </a:r>
          </a:p>
          <a:p>
            <a:pPr algn="ctr" defTabSz="933257" fontAlgn="base">
              <a:spcBef>
                <a:spcPct val="0"/>
              </a:spcBef>
              <a:spcAft>
                <a:spcPct val="0"/>
              </a:spcAft>
            </a:pPr>
            <a:r>
              <a:rPr lang="es-CL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7 Horas</a:t>
            </a:r>
          </a:p>
        </p:txBody>
      </p:sp>
      <p:grpSp>
        <p:nvGrpSpPr>
          <p:cNvPr id="18" name="Grupo 17">
            <a:extLst>
              <a:ext uri="{FF2B5EF4-FFF2-40B4-BE49-F238E27FC236}">
                <a16:creationId xmlns:a16="http://schemas.microsoft.com/office/drawing/2014/main" id="{542C12A3-CF8F-4B7F-BD2C-5EC4A386B70F}"/>
              </a:ext>
            </a:extLst>
          </p:cNvPr>
          <p:cNvGrpSpPr/>
          <p:nvPr/>
        </p:nvGrpSpPr>
        <p:grpSpPr>
          <a:xfrm>
            <a:off x="6432251" y="2577498"/>
            <a:ext cx="1497808" cy="1497808"/>
            <a:chOff x="1061956" y="197171"/>
            <a:chExt cx="1497808" cy="1497808"/>
          </a:xfrm>
        </p:grpSpPr>
        <p:sp>
          <p:nvSpPr>
            <p:cNvPr id="19" name="Circular 29">
              <a:extLst>
                <a:ext uri="{FF2B5EF4-FFF2-40B4-BE49-F238E27FC236}">
                  <a16:creationId xmlns:a16="http://schemas.microsoft.com/office/drawing/2014/main" id="{A0053CE8-FFDA-4635-8BA4-670B9DE66456}"/>
                </a:ext>
              </a:extLst>
            </p:cNvPr>
            <p:cNvSpPr/>
            <p:nvPr/>
          </p:nvSpPr>
          <p:spPr>
            <a:xfrm>
              <a:off x="1061956" y="197171"/>
              <a:ext cx="1497808" cy="1497808"/>
            </a:xfrm>
            <a:prstGeom prst="pieWedge">
              <a:avLst/>
            </a:prstGeom>
            <a:solidFill>
              <a:srgbClr val="9DC4E7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Circular 4">
              <a:extLst>
                <a:ext uri="{FF2B5EF4-FFF2-40B4-BE49-F238E27FC236}">
                  <a16:creationId xmlns:a16="http://schemas.microsoft.com/office/drawing/2014/main" id="{271E93F6-C540-44BA-B7C2-826DF1A4D363}"/>
                </a:ext>
              </a:extLst>
            </p:cNvPr>
            <p:cNvSpPr/>
            <p:nvPr/>
          </p:nvSpPr>
          <p:spPr>
            <a:xfrm>
              <a:off x="1500654" y="635869"/>
              <a:ext cx="1059110" cy="105911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49352" tIns="149352" rIns="149352" bIns="149352" numCol="1" spcCol="1270" anchor="ctr" anchorCtr="0">
              <a:noAutofit/>
            </a:bodyPr>
            <a:lstStyle/>
            <a:p>
              <a:pPr lvl="0" algn="ctr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s-ES" sz="2100" kern="1200" dirty="0"/>
            </a:p>
          </p:txBody>
        </p:sp>
      </p:grpSp>
      <p:grpSp>
        <p:nvGrpSpPr>
          <p:cNvPr id="21" name="Grupo 20">
            <a:extLst>
              <a:ext uri="{FF2B5EF4-FFF2-40B4-BE49-F238E27FC236}">
                <a16:creationId xmlns:a16="http://schemas.microsoft.com/office/drawing/2014/main" id="{C2518ED7-591A-4499-84F5-F79638F4FD6A}"/>
              </a:ext>
            </a:extLst>
          </p:cNvPr>
          <p:cNvGrpSpPr/>
          <p:nvPr/>
        </p:nvGrpSpPr>
        <p:grpSpPr>
          <a:xfrm>
            <a:off x="7999241" y="2577498"/>
            <a:ext cx="1497808" cy="1497808"/>
            <a:chOff x="2628946" y="197171"/>
            <a:chExt cx="1497808" cy="1497808"/>
          </a:xfrm>
        </p:grpSpPr>
        <p:sp>
          <p:nvSpPr>
            <p:cNvPr id="22" name="Circular 25">
              <a:extLst>
                <a:ext uri="{FF2B5EF4-FFF2-40B4-BE49-F238E27FC236}">
                  <a16:creationId xmlns:a16="http://schemas.microsoft.com/office/drawing/2014/main" id="{83039DA8-79BE-4FA2-A798-03AEA82BFE79}"/>
                </a:ext>
              </a:extLst>
            </p:cNvPr>
            <p:cNvSpPr/>
            <p:nvPr/>
          </p:nvSpPr>
          <p:spPr>
            <a:xfrm rot="5400000">
              <a:off x="2628946" y="197171"/>
              <a:ext cx="1497808" cy="1497808"/>
            </a:xfrm>
            <a:prstGeom prst="pieWedge">
              <a:avLst/>
            </a:prstGeom>
            <a:solidFill>
              <a:srgbClr val="004A5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3" name="Circular 6">
              <a:extLst>
                <a:ext uri="{FF2B5EF4-FFF2-40B4-BE49-F238E27FC236}">
                  <a16:creationId xmlns:a16="http://schemas.microsoft.com/office/drawing/2014/main" id="{73BB3375-00DE-4BAB-AC57-FDB107D6F720}"/>
                </a:ext>
              </a:extLst>
            </p:cNvPr>
            <p:cNvSpPr/>
            <p:nvPr/>
          </p:nvSpPr>
          <p:spPr>
            <a:xfrm>
              <a:off x="2628946" y="635869"/>
              <a:ext cx="1059110" cy="105911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49352" tIns="149352" rIns="149352" bIns="149352" numCol="1" spcCol="1270" anchor="ctr" anchorCtr="0">
              <a:noAutofit/>
            </a:bodyPr>
            <a:lstStyle/>
            <a:p>
              <a:pPr lvl="0" algn="ctr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s-ES" sz="2100" kern="1200"/>
            </a:p>
          </p:txBody>
        </p:sp>
      </p:grpSp>
      <p:grpSp>
        <p:nvGrpSpPr>
          <p:cNvPr id="26" name="Grupo 25">
            <a:extLst>
              <a:ext uri="{FF2B5EF4-FFF2-40B4-BE49-F238E27FC236}">
                <a16:creationId xmlns:a16="http://schemas.microsoft.com/office/drawing/2014/main" id="{BF7B8B2A-403C-44E2-AA43-3463AF545E26}"/>
              </a:ext>
            </a:extLst>
          </p:cNvPr>
          <p:cNvGrpSpPr/>
          <p:nvPr/>
        </p:nvGrpSpPr>
        <p:grpSpPr>
          <a:xfrm>
            <a:off x="7999241" y="4140660"/>
            <a:ext cx="1497808" cy="1497808"/>
            <a:chOff x="2628946" y="1764161"/>
            <a:chExt cx="1497808" cy="1497808"/>
          </a:xfrm>
        </p:grpSpPr>
        <p:sp>
          <p:nvSpPr>
            <p:cNvPr id="27" name="Circular 21">
              <a:extLst>
                <a:ext uri="{FF2B5EF4-FFF2-40B4-BE49-F238E27FC236}">
                  <a16:creationId xmlns:a16="http://schemas.microsoft.com/office/drawing/2014/main" id="{2425011C-52BA-4877-AB60-2C44528D1AFA}"/>
                </a:ext>
              </a:extLst>
            </p:cNvPr>
            <p:cNvSpPr/>
            <p:nvPr/>
          </p:nvSpPr>
          <p:spPr>
            <a:xfrm rot="10800000">
              <a:off x="2628946" y="1764161"/>
              <a:ext cx="1497808" cy="1497808"/>
            </a:xfrm>
            <a:prstGeom prst="pieWedge">
              <a:avLst/>
            </a:prstGeom>
            <a:solidFill>
              <a:srgbClr val="8A004A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8" name="Circular 8">
              <a:extLst>
                <a:ext uri="{FF2B5EF4-FFF2-40B4-BE49-F238E27FC236}">
                  <a16:creationId xmlns:a16="http://schemas.microsoft.com/office/drawing/2014/main" id="{BC6AF5DA-4148-4EA1-8FE0-D40E3EB40A38}"/>
                </a:ext>
              </a:extLst>
            </p:cNvPr>
            <p:cNvSpPr/>
            <p:nvPr/>
          </p:nvSpPr>
          <p:spPr>
            <a:xfrm rot="21600000">
              <a:off x="2628946" y="1764161"/>
              <a:ext cx="1059110" cy="105911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49352" tIns="149352" rIns="149352" bIns="149352" numCol="1" spcCol="1270" anchor="ctr" anchorCtr="0">
              <a:noAutofit/>
            </a:bodyPr>
            <a:lstStyle/>
            <a:p>
              <a:pPr lvl="0" algn="ctr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s-ES" sz="2100" kern="1200"/>
            </a:p>
          </p:txBody>
        </p:sp>
      </p:grpSp>
      <p:grpSp>
        <p:nvGrpSpPr>
          <p:cNvPr id="29" name="Grupo 28">
            <a:extLst>
              <a:ext uri="{FF2B5EF4-FFF2-40B4-BE49-F238E27FC236}">
                <a16:creationId xmlns:a16="http://schemas.microsoft.com/office/drawing/2014/main" id="{03B83E7B-E1D6-4681-BAB2-38F8D602DEB4}"/>
              </a:ext>
            </a:extLst>
          </p:cNvPr>
          <p:cNvGrpSpPr/>
          <p:nvPr/>
        </p:nvGrpSpPr>
        <p:grpSpPr>
          <a:xfrm>
            <a:off x="6432251" y="4144488"/>
            <a:ext cx="1497808" cy="1497808"/>
            <a:chOff x="1061956" y="1764161"/>
            <a:chExt cx="1497808" cy="1497808"/>
          </a:xfrm>
        </p:grpSpPr>
        <p:sp>
          <p:nvSpPr>
            <p:cNvPr id="30" name="Circular 19">
              <a:extLst>
                <a:ext uri="{FF2B5EF4-FFF2-40B4-BE49-F238E27FC236}">
                  <a16:creationId xmlns:a16="http://schemas.microsoft.com/office/drawing/2014/main" id="{78BDF200-C771-4AA5-8803-C62C26950640}"/>
                </a:ext>
              </a:extLst>
            </p:cNvPr>
            <p:cNvSpPr/>
            <p:nvPr/>
          </p:nvSpPr>
          <p:spPr>
            <a:xfrm rot="16200000">
              <a:off x="1061956" y="1764161"/>
              <a:ext cx="1497808" cy="1497808"/>
            </a:xfrm>
            <a:prstGeom prst="pieWedge">
              <a:avLst/>
            </a:prstGeom>
            <a:solidFill>
              <a:srgbClr val="F2E40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2" name="Circular 10">
              <a:extLst>
                <a:ext uri="{FF2B5EF4-FFF2-40B4-BE49-F238E27FC236}">
                  <a16:creationId xmlns:a16="http://schemas.microsoft.com/office/drawing/2014/main" id="{09C73997-8B66-492E-921A-C7516E76648E}"/>
                </a:ext>
              </a:extLst>
            </p:cNvPr>
            <p:cNvSpPr/>
            <p:nvPr/>
          </p:nvSpPr>
          <p:spPr>
            <a:xfrm rot="21600000">
              <a:off x="1500654" y="1764161"/>
              <a:ext cx="1059110" cy="105911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49352" tIns="149352" rIns="149352" bIns="149352" numCol="1" spcCol="1270" anchor="ctr" anchorCtr="0">
              <a:noAutofit/>
            </a:bodyPr>
            <a:lstStyle/>
            <a:p>
              <a:pPr lvl="0" algn="ctr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s-ES" sz="2100" kern="1200"/>
            </a:p>
          </p:txBody>
        </p:sp>
      </p:grpSp>
      <p:sp>
        <p:nvSpPr>
          <p:cNvPr id="34" name="CuadroTexto 33">
            <a:extLst>
              <a:ext uri="{FF2B5EF4-FFF2-40B4-BE49-F238E27FC236}">
                <a16:creationId xmlns:a16="http://schemas.microsoft.com/office/drawing/2014/main" id="{1A25B276-E861-4F4B-83D1-87718BB31B23}"/>
              </a:ext>
            </a:extLst>
          </p:cNvPr>
          <p:cNvSpPr txBox="1"/>
          <p:nvPr/>
        </p:nvSpPr>
        <p:spPr>
          <a:xfrm>
            <a:off x="6695810" y="3325320"/>
            <a:ext cx="120847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IQUETAR</a:t>
            </a:r>
          </a:p>
          <a:p>
            <a:pPr algn="ctr"/>
            <a:r>
              <a:rPr lang="es-CL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Horas</a:t>
            </a: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id="{EBD115BA-E95A-4694-89E7-C987B8830919}"/>
              </a:ext>
            </a:extLst>
          </p:cNvPr>
          <p:cNvSpPr txBox="1"/>
          <p:nvPr/>
        </p:nvSpPr>
        <p:spPr>
          <a:xfrm>
            <a:off x="8079421" y="3333223"/>
            <a:ext cx="130356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ASTECER</a:t>
            </a:r>
          </a:p>
          <a:p>
            <a:r>
              <a:rPr lang="es-CL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5 Horas</a:t>
            </a:r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id="{16EFB687-3CAE-4EC1-BE37-7A74AB833992}"/>
              </a:ext>
            </a:extLst>
          </p:cNvPr>
          <p:cNvSpPr txBox="1"/>
          <p:nvPr/>
        </p:nvSpPr>
        <p:spPr>
          <a:xfrm>
            <a:off x="6756178" y="4314951"/>
            <a:ext cx="117388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OL CALIDAD</a:t>
            </a:r>
          </a:p>
          <a:p>
            <a:r>
              <a:rPr lang="es-CL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5 Horas</a:t>
            </a:r>
          </a:p>
        </p:txBody>
      </p:sp>
      <p:sp>
        <p:nvSpPr>
          <p:cNvPr id="37" name="CuadroTexto 36">
            <a:extLst>
              <a:ext uri="{FF2B5EF4-FFF2-40B4-BE49-F238E27FC236}">
                <a16:creationId xmlns:a16="http://schemas.microsoft.com/office/drawing/2014/main" id="{47AFF2D4-E2CD-4EC9-8B20-402A9153A7F9}"/>
              </a:ext>
            </a:extLst>
          </p:cNvPr>
          <p:cNvSpPr txBox="1"/>
          <p:nvPr/>
        </p:nvSpPr>
        <p:spPr>
          <a:xfrm>
            <a:off x="8079421" y="4418769"/>
            <a:ext cx="105137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VASAR</a:t>
            </a:r>
          </a:p>
          <a:p>
            <a:pPr algn="ctr"/>
            <a:r>
              <a:rPr lang="es-CL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Horas</a:t>
            </a:r>
          </a:p>
        </p:txBody>
      </p:sp>
      <p:sp>
        <p:nvSpPr>
          <p:cNvPr id="38" name="Flecha derecha 2">
            <a:extLst>
              <a:ext uri="{FF2B5EF4-FFF2-40B4-BE49-F238E27FC236}">
                <a16:creationId xmlns:a16="http://schemas.microsoft.com/office/drawing/2014/main" id="{7D228398-E9D2-4CC1-AF6F-2DFEB9042514}"/>
              </a:ext>
            </a:extLst>
          </p:cNvPr>
          <p:cNvSpPr/>
          <p:nvPr/>
        </p:nvSpPr>
        <p:spPr>
          <a:xfrm>
            <a:off x="4939038" y="3748023"/>
            <a:ext cx="1298448" cy="975626"/>
          </a:xfrm>
          <a:prstGeom prst="right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9" name="CuadroTexto 38">
            <a:extLst>
              <a:ext uri="{FF2B5EF4-FFF2-40B4-BE49-F238E27FC236}">
                <a16:creationId xmlns:a16="http://schemas.microsoft.com/office/drawing/2014/main" id="{6D4003F0-D96B-4504-A00C-131999C04FDF}"/>
              </a:ext>
            </a:extLst>
          </p:cNvPr>
          <p:cNvSpPr txBox="1"/>
          <p:nvPr/>
        </p:nvSpPr>
        <p:spPr>
          <a:xfrm>
            <a:off x="685317" y="6024307"/>
            <a:ext cx="9805890" cy="2862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1400" i="1" dirty="0">
                <a:solidFill>
                  <a:srgbClr val="006600"/>
                </a:solidFill>
              </a:rPr>
              <a:t>Para más información puede consultar el “Manual de prevención de trastornos musculoesqueléticos extremidad superior”</a:t>
            </a:r>
          </a:p>
        </p:txBody>
      </p:sp>
    </p:spTree>
    <p:extLst>
      <p:ext uri="{BB962C8B-B14F-4D97-AF65-F5344CB8AC3E}">
        <p14:creationId xmlns:p14="http://schemas.microsoft.com/office/powerpoint/2010/main" val="340367698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34" grpId="0"/>
      <p:bldP spid="35" grpId="0"/>
      <p:bldP spid="36" grpId="0"/>
      <p:bldP spid="37" grpId="0"/>
      <p:bldP spid="38" grpId="0" animBg="1"/>
      <p:bldP spid="39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C37361C2-7D8D-F148-AE62-17BED1F4FE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7" imgW="7772400" imgH="10058400" progId="TCLayout.ActiveDocument.1">
                  <p:embed/>
                </p:oleObj>
              </mc:Choice>
              <mc:Fallback>
                <p:oleObj name="Diapositiva de think-cell" r:id="rId7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C37361C2-7D8D-F148-AE62-17BED1F4FE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Marcador de texto 23">
            <a:extLst>
              <a:ext uri="{FF2B5EF4-FFF2-40B4-BE49-F238E27FC236}">
                <a16:creationId xmlns:a16="http://schemas.microsoft.com/office/drawing/2014/main" id="{42B9B605-B12F-6147-BFF4-BCAF18B25A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_tradnl" dirty="0"/>
              <a:t>Implementación TMERT</a:t>
            </a:r>
          </a:p>
        </p:txBody>
      </p:sp>
      <p:sp>
        <p:nvSpPr>
          <p:cNvPr id="25" name="Marcador de texto 24">
            <a:extLst>
              <a:ext uri="{FF2B5EF4-FFF2-40B4-BE49-F238E27FC236}">
                <a16:creationId xmlns:a16="http://schemas.microsoft.com/office/drawing/2014/main" id="{895E7C57-E423-7444-A1F9-CACBB7D8C0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9263" y="826145"/>
            <a:ext cx="7170738" cy="356282"/>
          </a:xfrm>
        </p:spPr>
        <p:txBody>
          <a:bodyPr/>
          <a:lstStyle/>
          <a:p>
            <a:r>
              <a:rPr lang="es-ES_tradnl" dirty="0" err="1"/>
              <a:t>Re-evaluación</a:t>
            </a:r>
            <a:r>
              <a:rPr lang="es-ES_tradnl" dirty="0"/>
              <a:t> del riesgo</a:t>
            </a:r>
          </a:p>
        </p:txBody>
      </p:sp>
      <p:sp>
        <p:nvSpPr>
          <p:cNvPr id="33" name="Marcador de número de diapositiva 32">
            <a:extLst>
              <a:ext uri="{FF2B5EF4-FFF2-40B4-BE49-F238E27FC236}">
                <a16:creationId xmlns:a16="http://schemas.microsoft.com/office/drawing/2014/main" id="{D771257B-5667-DF49-BB0E-ADFCDD355D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970979" y="6375539"/>
            <a:ext cx="1844164" cy="365125"/>
          </a:xfrm>
        </p:spPr>
        <p:txBody>
          <a:bodyPr/>
          <a:lstStyle/>
          <a:p>
            <a:fld id="{B37290F3-BA30-9341-A10E-737EC97582C1}" type="slidenum">
              <a:rPr lang="es-CL" smtClean="0"/>
              <a:pPr/>
              <a:t>23</a:t>
            </a:fld>
            <a:endParaRPr lang="es-CL" dirty="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D0D302AE-5AB3-4CB9-9109-00D28D7970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2274112" y="441456"/>
            <a:ext cx="2770185" cy="604074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8" name="Chevron 88">
            <a:extLst>
              <a:ext uri="{FF2B5EF4-FFF2-40B4-BE49-F238E27FC236}">
                <a16:creationId xmlns:a16="http://schemas.microsoft.com/office/drawing/2014/main" id="{8D00FF92-9138-42EF-8A4D-364A7879372A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7250268" y="2530901"/>
            <a:ext cx="1221655" cy="376675"/>
          </a:xfrm>
          <a:prstGeom prst="chevron">
            <a:avLst>
              <a:gd name="adj" fmla="val 19614"/>
            </a:avLst>
          </a:prstGeom>
          <a:solidFill>
            <a:srgbClr val="1B7D4A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 lIns="72000" tIns="36000" rIns="72000" bIns="36000" rtlCol="0" anchor="ctr"/>
          <a:lstStyle/>
          <a:p>
            <a:pPr algn="ctr" defTabSz="933257" fontAlgn="base">
              <a:spcBef>
                <a:spcPct val="0"/>
              </a:spcBef>
              <a:spcAft>
                <a:spcPct val="0"/>
              </a:spcAft>
            </a:pPr>
            <a:r>
              <a:rPr lang="es-CL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Verde</a:t>
            </a:r>
          </a:p>
        </p:txBody>
      </p:sp>
      <p:sp>
        <p:nvSpPr>
          <p:cNvPr id="9" name="Chevron 88">
            <a:extLst>
              <a:ext uri="{FF2B5EF4-FFF2-40B4-BE49-F238E27FC236}">
                <a16:creationId xmlns:a16="http://schemas.microsoft.com/office/drawing/2014/main" id="{C724A74C-33E5-4824-AE07-FD2E6385753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7260090" y="4016082"/>
            <a:ext cx="1211833" cy="376675"/>
          </a:xfrm>
          <a:prstGeom prst="chevron">
            <a:avLst>
              <a:gd name="adj" fmla="val 19614"/>
            </a:avLst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 lIns="72000" tIns="36000" rIns="72000" bIns="36000" rtlCol="0" anchor="ctr"/>
          <a:lstStyle/>
          <a:p>
            <a:pPr algn="ctr" defTabSz="933257" fontAlgn="base">
              <a:spcBef>
                <a:spcPct val="0"/>
              </a:spcBef>
              <a:spcAft>
                <a:spcPct val="0"/>
              </a:spcAft>
            </a:pPr>
            <a:r>
              <a:rPr lang="es-CL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ojo</a:t>
            </a:r>
          </a:p>
        </p:txBody>
      </p:sp>
      <p:sp>
        <p:nvSpPr>
          <p:cNvPr id="10" name="Chevron 88">
            <a:extLst>
              <a:ext uri="{FF2B5EF4-FFF2-40B4-BE49-F238E27FC236}">
                <a16:creationId xmlns:a16="http://schemas.microsoft.com/office/drawing/2014/main" id="{08CCF7F0-3D53-4DDB-831A-8B97EEB7A010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7260090" y="3273491"/>
            <a:ext cx="1211833" cy="376675"/>
          </a:xfrm>
          <a:prstGeom prst="chevron">
            <a:avLst>
              <a:gd name="adj" fmla="val 19614"/>
            </a:avLst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 lIns="72000" tIns="36000" rIns="72000" bIns="36000" rtlCol="0" anchor="ctr"/>
          <a:lstStyle/>
          <a:p>
            <a:pPr algn="ctr" defTabSz="933257" fontAlgn="base">
              <a:spcBef>
                <a:spcPct val="0"/>
              </a:spcBef>
              <a:spcAft>
                <a:spcPct val="0"/>
              </a:spcAft>
            </a:pPr>
            <a:r>
              <a:rPr lang="es-CL" sz="16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Amarillo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0AC1AC26-ADA8-4734-8DA4-CAC79FE939F3}"/>
              </a:ext>
            </a:extLst>
          </p:cNvPr>
          <p:cNvSpPr txBox="1"/>
          <p:nvPr/>
        </p:nvSpPr>
        <p:spPr>
          <a:xfrm>
            <a:off x="8728518" y="3320675"/>
            <a:ext cx="1597148" cy="92333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s-CL" sz="2000" dirty="0"/>
              <a:t>Evaluación de riesgos específicos</a:t>
            </a:r>
          </a:p>
        </p:txBody>
      </p:sp>
      <p:sp>
        <p:nvSpPr>
          <p:cNvPr id="13" name="Rectangle 9">
            <a:extLst>
              <a:ext uri="{FF2B5EF4-FFF2-40B4-BE49-F238E27FC236}">
                <a16:creationId xmlns:a16="http://schemas.microsoft.com/office/drawing/2014/main" id="{CBB81109-EFF9-491D-A66F-0A79CB6652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8833" y="5232741"/>
            <a:ext cx="9887034" cy="52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516" tIns="45258" rIns="90516" bIns="45258">
            <a:spAutoFit/>
          </a:bodyPr>
          <a:lstStyle/>
          <a:p>
            <a:pPr marL="339437" indent="-339437" algn="ctr" defTabSz="914400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</a:pPr>
            <a:r>
              <a:rPr lang="es-CL" sz="1400" b="1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“Una vez implementadas las medidas, se debe volver a evaluar utilizando Lista de chequeo TMERT MINSAL y según sus resultados requerir una evaluación específica de riesgos”</a:t>
            </a:r>
            <a:endParaRPr lang="en-US" sz="1400" b="1" dirty="0">
              <a:solidFill>
                <a:schemeClr val="tx2"/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29119846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C37361C2-7D8D-F148-AE62-17BED1F4FE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C37361C2-7D8D-F148-AE62-17BED1F4FE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Marcador de texto 23">
            <a:extLst>
              <a:ext uri="{FF2B5EF4-FFF2-40B4-BE49-F238E27FC236}">
                <a16:creationId xmlns:a16="http://schemas.microsoft.com/office/drawing/2014/main" id="{42B9B605-B12F-6147-BFF4-BCAF18B25A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_tradnl" dirty="0"/>
              <a:t>Implementación TMERT</a:t>
            </a:r>
          </a:p>
        </p:txBody>
      </p:sp>
      <p:sp>
        <p:nvSpPr>
          <p:cNvPr id="25" name="Marcador de texto 24">
            <a:extLst>
              <a:ext uri="{FF2B5EF4-FFF2-40B4-BE49-F238E27FC236}">
                <a16:creationId xmlns:a16="http://schemas.microsoft.com/office/drawing/2014/main" id="{895E7C57-E423-7444-A1F9-CACBB7D8C0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9263" y="826145"/>
            <a:ext cx="7170738" cy="356282"/>
          </a:xfrm>
        </p:spPr>
        <p:txBody>
          <a:bodyPr/>
          <a:lstStyle/>
          <a:p>
            <a:r>
              <a:rPr lang="es-ES_tradnl" dirty="0"/>
              <a:t>Vigilancia de la Salud</a:t>
            </a:r>
          </a:p>
        </p:txBody>
      </p:sp>
      <p:sp>
        <p:nvSpPr>
          <p:cNvPr id="33" name="Marcador de número de diapositiva 32">
            <a:extLst>
              <a:ext uri="{FF2B5EF4-FFF2-40B4-BE49-F238E27FC236}">
                <a16:creationId xmlns:a16="http://schemas.microsoft.com/office/drawing/2014/main" id="{D771257B-5667-DF49-BB0E-ADFCDD355D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970979" y="6375539"/>
            <a:ext cx="1844164" cy="365125"/>
          </a:xfrm>
        </p:spPr>
        <p:txBody>
          <a:bodyPr/>
          <a:lstStyle/>
          <a:p>
            <a:fld id="{B37290F3-BA30-9341-A10E-737EC97582C1}" type="slidenum">
              <a:rPr lang="es-CL" smtClean="0"/>
              <a:pPr/>
              <a:t>24</a:t>
            </a:fld>
            <a:endParaRPr lang="es-CL" dirty="0"/>
          </a:p>
        </p:txBody>
      </p:sp>
      <p:sp>
        <p:nvSpPr>
          <p:cNvPr id="13" name="Rectangle 9">
            <a:extLst>
              <a:ext uri="{FF2B5EF4-FFF2-40B4-BE49-F238E27FC236}">
                <a16:creationId xmlns:a16="http://schemas.microsoft.com/office/drawing/2014/main" id="{CBB81109-EFF9-491D-A66F-0A79CB6652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9194" y="4692556"/>
            <a:ext cx="9887034" cy="52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516" tIns="45258" rIns="90516" bIns="45258">
            <a:spAutoFit/>
          </a:bodyPr>
          <a:lstStyle/>
          <a:p>
            <a:pPr marL="339437" indent="-339437" algn="ctr" defTabSz="914400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</a:pPr>
            <a:r>
              <a:rPr lang="es-CL" sz="1400" b="1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“Los trabajadores que a pesar de la aplicación de medidas de control permanezcan en niveles de riesgo rojo deben ingresar a un programa de vigilancia de la salud que llevará a cabo la ACHS”</a:t>
            </a:r>
            <a:endParaRPr lang="en-US" sz="1400" b="1" dirty="0">
              <a:solidFill>
                <a:schemeClr val="tx2"/>
              </a:solidFill>
              <a:latin typeface="Arial"/>
              <a:cs typeface="Arial"/>
              <a:sym typeface="Arial"/>
            </a:endParaRPr>
          </a:p>
        </p:txBody>
      </p:sp>
      <p:graphicFrame>
        <p:nvGraphicFramePr>
          <p:cNvPr id="14" name="4 Tabla">
            <a:extLst>
              <a:ext uri="{FF2B5EF4-FFF2-40B4-BE49-F238E27FC236}">
                <a16:creationId xmlns:a16="http://schemas.microsoft.com/office/drawing/2014/main" id="{933B4E24-7D3E-4228-8576-E02894A53E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0231913"/>
              </p:ext>
            </p:extLst>
          </p:nvPr>
        </p:nvGraphicFramePr>
        <p:xfrm>
          <a:off x="1725729" y="1885924"/>
          <a:ext cx="7324244" cy="19339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6212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621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76064">
                <a:tc>
                  <a:txBody>
                    <a:bodyPr/>
                    <a:lstStyle/>
                    <a:p>
                      <a:r>
                        <a:rPr lang="es-CL" sz="1600" dirty="0">
                          <a:latin typeface="Calibri" pitchFamily="34" charset="0"/>
                        </a:rPr>
                        <a:t>CUESTIONARIO NÓRDICO DE KUORINKA</a:t>
                      </a:r>
                    </a:p>
                  </a:txBody>
                  <a:tcPr marL="92891" marR="92891" marT="45837" marB="45837"/>
                </a:tc>
                <a:tc>
                  <a:txBody>
                    <a:bodyPr/>
                    <a:lstStyle/>
                    <a:p>
                      <a:r>
                        <a:rPr lang="es-CL" sz="1400" b="0" dirty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Detección</a:t>
                      </a:r>
                      <a:r>
                        <a:rPr lang="es-CL" sz="1400" b="0" baseline="0" dirty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 de síntomas ME iniciales que aún no han constituido enfermedad</a:t>
                      </a:r>
                      <a:endParaRPr lang="es-CL" sz="1400" b="0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92891" marR="92891" marT="45837" marB="45837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1222">
                <a:tc>
                  <a:txBody>
                    <a:bodyPr/>
                    <a:lstStyle/>
                    <a:p>
                      <a:endParaRPr lang="es-CL" sz="1800" dirty="0"/>
                    </a:p>
                  </a:txBody>
                  <a:tcPr marL="92891" marR="92891" marT="45837" marB="45837"/>
                </a:tc>
                <a:tc>
                  <a:txBody>
                    <a:bodyPr/>
                    <a:lstStyle/>
                    <a:p>
                      <a:r>
                        <a:rPr lang="es-CL" sz="1400" dirty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Recopila información  sobre dolor,</a:t>
                      </a:r>
                      <a:r>
                        <a:rPr lang="es-CL" sz="1400" baseline="0" dirty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 fatiga y </a:t>
                      </a:r>
                      <a:r>
                        <a:rPr lang="es-CL" sz="1400" baseline="0" dirty="0" err="1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disconfort</a:t>
                      </a:r>
                      <a:endParaRPr lang="es-CL" sz="1400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92891" marR="92891" marT="45837" marB="45837"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16659">
                <a:tc>
                  <a:txBody>
                    <a:bodyPr/>
                    <a:lstStyle/>
                    <a:p>
                      <a:r>
                        <a:rPr lang="es-CL" sz="1600" b="1" dirty="0">
                          <a:solidFill>
                            <a:schemeClr val="tx1"/>
                          </a:solidFill>
                          <a:latin typeface="Calibri" pitchFamily="34" charset="0"/>
                        </a:rPr>
                        <a:t>CUESTIONARIO</a:t>
                      </a:r>
                      <a:r>
                        <a:rPr lang="es-CL" sz="1600" b="1" baseline="0" dirty="0">
                          <a:solidFill>
                            <a:schemeClr val="tx1"/>
                          </a:solidFill>
                          <a:latin typeface="Calibri" pitchFamily="34" charset="0"/>
                        </a:rPr>
                        <a:t> QUICK DASH, VERSIÓN ESPAÑOLA</a:t>
                      </a:r>
                      <a:endParaRPr lang="es-CL" sz="1600" b="1" dirty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</a:txBody>
                  <a:tcPr marL="92891" marR="92891" marT="45837" marB="45837"/>
                </a:tc>
                <a:tc>
                  <a:txBody>
                    <a:bodyPr/>
                    <a:lstStyle/>
                    <a:p>
                      <a:r>
                        <a:rPr lang="es-CL" sz="1400" dirty="0">
                          <a:latin typeface="Calibri" pitchFamily="34" charset="0"/>
                        </a:rPr>
                        <a:t>Recopila síntomas y capacidad</a:t>
                      </a:r>
                      <a:r>
                        <a:rPr lang="es-CL" sz="1400" baseline="0" dirty="0">
                          <a:latin typeface="Calibri" pitchFamily="34" charset="0"/>
                        </a:rPr>
                        <a:t> de realizar ciertas tareas durante la última semana</a:t>
                      </a:r>
                      <a:endParaRPr lang="es-CL" sz="1400" dirty="0">
                        <a:latin typeface="Calibri" pitchFamily="34" charset="0"/>
                      </a:endParaRPr>
                    </a:p>
                  </a:txBody>
                  <a:tcPr marL="92891" marR="92891" marT="45837" marB="45837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08101369"/>
      </p:ext>
    </p:extLst>
  </p:cSld>
  <p:clrMapOvr>
    <a:masterClrMapping/>
  </p:clrMapOvr>
  <p:transition spd="med"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C37361C2-7D8D-F148-AE62-17BED1F4FE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C37361C2-7D8D-F148-AE62-17BED1F4FE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Marcador de texto 23">
            <a:extLst>
              <a:ext uri="{FF2B5EF4-FFF2-40B4-BE49-F238E27FC236}">
                <a16:creationId xmlns:a16="http://schemas.microsoft.com/office/drawing/2014/main" id="{42B9B605-B12F-6147-BFF4-BCAF18B25A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_tradnl" dirty="0"/>
              <a:t>Asistencia técnica ACHS</a:t>
            </a:r>
          </a:p>
        </p:txBody>
      </p:sp>
      <p:sp>
        <p:nvSpPr>
          <p:cNvPr id="25" name="Marcador de texto 24">
            <a:extLst>
              <a:ext uri="{FF2B5EF4-FFF2-40B4-BE49-F238E27FC236}">
                <a16:creationId xmlns:a16="http://schemas.microsoft.com/office/drawing/2014/main" id="{895E7C57-E423-7444-A1F9-CACBB7D8C0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9263" y="826145"/>
            <a:ext cx="7170738" cy="356282"/>
          </a:xfrm>
        </p:spPr>
        <p:txBody>
          <a:bodyPr/>
          <a:lstStyle/>
          <a:p>
            <a:r>
              <a:rPr lang="es-ES_tradnl" dirty="0"/>
              <a:t>Herramientas disponibles </a:t>
            </a:r>
          </a:p>
        </p:txBody>
      </p:sp>
      <p:sp>
        <p:nvSpPr>
          <p:cNvPr id="33" name="Marcador de número de diapositiva 32">
            <a:extLst>
              <a:ext uri="{FF2B5EF4-FFF2-40B4-BE49-F238E27FC236}">
                <a16:creationId xmlns:a16="http://schemas.microsoft.com/office/drawing/2014/main" id="{D771257B-5667-DF49-BB0E-ADFCDD355D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970979" y="6375539"/>
            <a:ext cx="1844164" cy="365125"/>
          </a:xfrm>
        </p:spPr>
        <p:txBody>
          <a:bodyPr/>
          <a:lstStyle/>
          <a:p>
            <a:fld id="{B37290F3-BA30-9341-A10E-737EC97582C1}" type="slidenum">
              <a:rPr lang="es-CL" smtClean="0"/>
              <a:pPr/>
              <a:t>25</a:t>
            </a:fld>
            <a:endParaRPr lang="es-CL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F7735391-FE5D-4660-B3E5-8D900FF61CAE}"/>
              </a:ext>
            </a:extLst>
          </p:cNvPr>
          <p:cNvSpPr txBox="1">
            <a:spLocks/>
          </p:cNvSpPr>
          <p:nvPr/>
        </p:nvSpPr>
        <p:spPr>
          <a:xfrm>
            <a:off x="813307" y="4567913"/>
            <a:ext cx="4897078" cy="377134"/>
          </a:xfrm>
        </p:spPr>
        <p:txBody>
          <a:bodyPr>
            <a:normAutofit/>
          </a:bodyPr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just">
              <a:buFontTx/>
              <a:buNone/>
            </a:pPr>
            <a:r>
              <a:rPr lang="es-CL" sz="1800">
                <a:hlinkClick r:id="rId6"/>
              </a:rPr>
              <a:t>https://www.achs.cl/portal/Paginas/Home.aspx</a:t>
            </a:r>
            <a:endParaRPr lang="es-CL" sz="1800"/>
          </a:p>
          <a:p>
            <a:pPr marL="0" indent="0" algn="just">
              <a:buFontTx/>
              <a:buNone/>
            </a:pPr>
            <a:endParaRPr lang="es-CL" sz="1800">
              <a:solidFill>
                <a:srgbClr val="FF0000"/>
              </a:solidFill>
            </a:endParaRPr>
          </a:p>
          <a:p>
            <a:pPr marL="0" indent="0" algn="just">
              <a:buFontTx/>
              <a:buNone/>
            </a:pPr>
            <a:endParaRPr lang="es-CL" sz="1800" dirty="0"/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E664ACDD-EF2D-4994-A013-DED3F306C2D9}"/>
              </a:ext>
            </a:extLst>
          </p:cNvPr>
          <p:cNvSpPr/>
          <p:nvPr/>
        </p:nvSpPr>
        <p:spPr>
          <a:xfrm>
            <a:off x="1662070" y="1882623"/>
            <a:ext cx="3159826" cy="369331"/>
          </a:xfrm>
          <a:prstGeom prst="rect">
            <a:avLst/>
          </a:prstGeom>
          <a:solidFill>
            <a:srgbClr val="1B7D4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DBCD6E59-B9BB-4993-9EBC-821C4A4EBE3C}"/>
              </a:ext>
            </a:extLst>
          </p:cNvPr>
          <p:cNvSpPr/>
          <p:nvPr/>
        </p:nvSpPr>
        <p:spPr>
          <a:xfrm>
            <a:off x="1769503" y="1876834"/>
            <a:ext cx="361125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b="1" dirty="0">
                <a:solidFill>
                  <a:schemeClr val="bg1"/>
                </a:solidFill>
                <a:latin typeface="Arial"/>
                <a:ea typeface="+mj-ea"/>
                <a:cs typeface="Arial"/>
              </a:rPr>
              <a:t>Asesoría Experto ACHS</a:t>
            </a: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2E211240-4CEB-47A3-A9C4-DE32064D327D}"/>
              </a:ext>
            </a:extLst>
          </p:cNvPr>
          <p:cNvSpPr/>
          <p:nvPr/>
        </p:nvSpPr>
        <p:spPr>
          <a:xfrm>
            <a:off x="1662070" y="2356034"/>
            <a:ext cx="315982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eaLnBrk="0" hangingPunct="0">
              <a:defRPr/>
            </a:pPr>
            <a:r>
              <a:rPr lang="es-CL" sz="1400" kern="0" dirty="0">
                <a:solidFill>
                  <a:srgbClr val="004A52"/>
                </a:solidFill>
                <a:latin typeface="Arial"/>
                <a:ea typeface="SimHei" panose="02010609060101010101" pitchFamily="49" charset="-122"/>
                <a:cs typeface="Arial" pitchFamily="34" charset="0"/>
              </a:rPr>
              <a:t>Entrega de material y orientación </a:t>
            </a:r>
          </a:p>
          <a:p>
            <a:pPr lvl="0" defTabSz="914400" eaLnBrk="0" hangingPunct="0">
              <a:defRPr/>
            </a:pPr>
            <a:endParaRPr lang="es-CL" sz="1400" kern="0" dirty="0">
              <a:solidFill>
                <a:srgbClr val="004A52"/>
              </a:solidFill>
              <a:latin typeface="Arial"/>
              <a:ea typeface="SimHei" panose="02010609060101010101" pitchFamily="49" charset="-122"/>
              <a:cs typeface="Arial" pitchFamily="34" charset="0"/>
            </a:endParaRPr>
          </a:p>
        </p:txBody>
      </p:sp>
      <p:pic>
        <p:nvPicPr>
          <p:cNvPr id="18" name="Gráfico 47">
            <a:extLst>
              <a:ext uri="{FF2B5EF4-FFF2-40B4-BE49-F238E27FC236}">
                <a16:creationId xmlns:a16="http://schemas.microsoft.com/office/drawing/2014/main" id="{7040BECF-F53A-4125-928F-55E035784D7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>
            <a:off x="813307" y="3241374"/>
            <a:ext cx="950302" cy="950302"/>
          </a:xfrm>
          <a:prstGeom prst="rect">
            <a:avLst/>
          </a:prstGeom>
        </p:spPr>
      </p:pic>
      <p:pic>
        <p:nvPicPr>
          <p:cNvPr id="19" name="Gráfico 48">
            <a:extLst>
              <a:ext uri="{FF2B5EF4-FFF2-40B4-BE49-F238E27FC236}">
                <a16:creationId xmlns:a16="http://schemas.microsoft.com/office/drawing/2014/main" id="{74E5E9AA-7B4E-4805-98E3-155375F92A9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flipH="1">
            <a:off x="646480" y="1711516"/>
            <a:ext cx="1015590" cy="1015590"/>
          </a:xfrm>
          <a:prstGeom prst="rect">
            <a:avLst/>
          </a:prstGeom>
        </p:spPr>
      </p:pic>
      <p:sp>
        <p:nvSpPr>
          <p:cNvPr id="20" name="Rectángulo 19">
            <a:extLst>
              <a:ext uri="{FF2B5EF4-FFF2-40B4-BE49-F238E27FC236}">
                <a16:creationId xmlns:a16="http://schemas.microsoft.com/office/drawing/2014/main" id="{1BC653D7-89F9-4D03-A0C2-6A08C743D6A4}"/>
              </a:ext>
            </a:extLst>
          </p:cNvPr>
          <p:cNvSpPr/>
          <p:nvPr/>
        </p:nvSpPr>
        <p:spPr>
          <a:xfrm>
            <a:off x="1802960" y="3351024"/>
            <a:ext cx="3159826" cy="369331"/>
          </a:xfrm>
          <a:prstGeom prst="rect">
            <a:avLst/>
          </a:prstGeom>
          <a:solidFill>
            <a:srgbClr val="1B7D4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ED2053FE-17C3-43B9-9023-4363255CE9C0}"/>
              </a:ext>
            </a:extLst>
          </p:cNvPr>
          <p:cNvSpPr/>
          <p:nvPr/>
        </p:nvSpPr>
        <p:spPr>
          <a:xfrm>
            <a:off x="1802960" y="3347193"/>
            <a:ext cx="361125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b="1" dirty="0">
                <a:solidFill>
                  <a:schemeClr val="bg1"/>
                </a:solidFill>
                <a:latin typeface="Arial"/>
                <a:ea typeface="+mj-ea"/>
                <a:cs typeface="Arial"/>
              </a:rPr>
              <a:t>Página web ACHS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D0937700-1C12-47DA-96D9-A3634A053198}"/>
              </a:ext>
            </a:extLst>
          </p:cNvPr>
          <p:cNvSpPr/>
          <p:nvPr/>
        </p:nvSpPr>
        <p:spPr>
          <a:xfrm>
            <a:off x="1802960" y="3824435"/>
            <a:ext cx="315982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eaLnBrk="0" hangingPunct="0">
              <a:defRPr/>
            </a:pPr>
            <a:r>
              <a:rPr lang="es-CL" sz="1400" kern="0" dirty="0">
                <a:solidFill>
                  <a:srgbClr val="004A52"/>
                </a:solidFill>
                <a:latin typeface="Arial"/>
                <a:ea typeface="SimHei" panose="02010609060101010101" pitchFamily="49" charset="-122"/>
                <a:cs typeface="Arial" pitchFamily="34" charset="0"/>
              </a:rPr>
              <a:t>Acceso abierto a material y herramientas </a:t>
            </a:r>
          </a:p>
          <a:p>
            <a:pPr lvl="0" defTabSz="914400" eaLnBrk="0" hangingPunct="0">
              <a:defRPr/>
            </a:pPr>
            <a:endParaRPr lang="es-CL" sz="1400" kern="0" dirty="0">
              <a:solidFill>
                <a:srgbClr val="004A52"/>
              </a:solidFill>
              <a:latin typeface="Arial"/>
              <a:ea typeface="SimHei" panose="02010609060101010101" pitchFamily="49" charset="-122"/>
              <a:cs typeface="Arial" pitchFamily="34" charset="0"/>
            </a:endParaRPr>
          </a:p>
        </p:txBody>
      </p:sp>
      <p:pic>
        <p:nvPicPr>
          <p:cNvPr id="23" name="Imagen 22">
            <a:extLst>
              <a:ext uri="{FF2B5EF4-FFF2-40B4-BE49-F238E27FC236}">
                <a16:creationId xmlns:a16="http://schemas.microsoft.com/office/drawing/2014/main" id="{07726352-336B-4948-84F5-E7640189446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302332" y="1465401"/>
            <a:ext cx="5257271" cy="2865795"/>
          </a:xfrm>
          <a:prstGeom prst="rect">
            <a:avLst/>
          </a:prstGeom>
        </p:spPr>
      </p:pic>
      <p:pic>
        <p:nvPicPr>
          <p:cNvPr id="26" name="Imagen 25">
            <a:extLst>
              <a:ext uri="{FF2B5EF4-FFF2-40B4-BE49-F238E27FC236}">
                <a16:creationId xmlns:a16="http://schemas.microsoft.com/office/drawing/2014/main" id="{86972DFA-7A51-4B60-AF28-98F274FC3EF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302332" y="3051308"/>
            <a:ext cx="5242122" cy="2794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30274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build="p"/>
      <p:bldP spid="15" grpId="0" animBg="1"/>
      <p:bldP spid="17" grpId="0"/>
      <p:bldP spid="20" grpId="0" animBg="1"/>
      <p:bldP spid="22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C37361C2-7D8D-F148-AE62-17BED1F4FE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C37361C2-7D8D-F148-AE62-17BED1F4FE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Marcador de texto 23">
            <a:extLst>
              <a:ext uri="{FF2B5EF4-FFF2-40B4-BE49-F238E27FC236}">
                <a16:creationId xmlns:a16="http://schemas.microsoft.com/office/drawing/2014/main" id="{42B9B605-B12F-6147-BFF4-BCAF18B25A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_tradnl" dirty="0"/>
              <a:t>Asistencia técnica ACHS</a:t>
            </a:r>
          </a:p>
        </p:txBody>
      </p:sp>
      <p:sp>
        <p:nvSpPr>
          <p:cNvPr id="25" name="Marcador de texto 24">
            <a:extLst>
              <a:ext uri="{FF2B5EF4-FFF2-40B4-BE49-F238E27FC236}">
                <a16:creationId xmlns:a16="http://schemas.microsoft.com/office/drawing/2014/main" id="{895E7C57-E423-7444-A1F9-CACBB7D8C0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9263" y="826145"/>
            <a:ext cx="7170738" cy="356282"/>
          </a:xfrm>
        </p:spPr>
        <p:txBody>
          <a:bodyPr/>
          <a:lstStyle/>
          <a:p>
            <a:r>
              <a:rPr lang="es-ES_tradnl" dirty="0"/>
              <a:t>Herramientas disponibles </a:t>
            </a:r>
          </a:p>
        </p:txBody>
      </p:sp>
      <p:sp>
        <p:nvSpPr>
          <p:cNvPr id="33" name="Marcador de número de diapositiva 32">
            <a:extLst>
              <a:ext uri="{FF2B5EF4-FFF2-40B4-BE49-F238E27FC236}">
                <a16:creationId xmlns:a16="http://schemas.microsoft.com/office/drawing/2014/main" id="{D771257B-5667-DF49-BB0E-ADFCDD355D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970979" y="6375539"/>
            <a:ext cx="1844164" cy="365125"/>
          </a:xfrm>
        </p:spPr>
        <p:txBody>
          <a:bodyPr/>
          <a:lstStyle/>
          <a:p>
            <a:fld id="{B37290F3-BA30-9341-A10E-737EC97582C1}" type="slidenum">
              <a:rPr lang="es-CL" smtClean="0"/>
              <a:pPr/>
              <a:t>26</a:t>
            </a:fld>
            <a:endParaRPr lang="es-CL" dirty="0"/>
          </a:p>
        </p:txBody>
      </p:sp>
      <p:sp>
        <p:nvSpPr>
          <p:cNvPr id="27" name="Marcador de contenido 2">
            <a:extLst>
              <a:ext uri="{FF2B5EF4-FFF2-40B4-BE49-F238E27FC236}">
                <a16:creationId xmlns:a16="http://schemas.microsoft.com/office/drawing/2014/main" id="{CABF179A-1773-435C-8F5E-FF1B1B4CE1A2}"/>
              </a:ext>
            </a:extLst>
          </p:cNvPr>
          <p:cNvSpPr txBox="1">
            <a:spLocks/>
          </p:cNvSpPr>
          <p:nvPr/>
        </p:nvSpPr>
        <p:spPr>
          <a:xfrm>
            <a:off x="587375" y="1523339"/>
            <a:ext cx="9655709" cy="3848335"/>
          </a:xfrm>
        </p:spPr>
        <p:txBody>
          <a:bodyPr>
            <a:normAutofit/>
          </a:bodyPr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just">
              <a:buFontTx/>
              <a:buNone/>
            </a:pPr>
            <a:r>
              <a:rPr lang="es-CL" sz="1800">
                <a:hlinkClick r:id="rId6"/>
              </a:rPr>
              <a:t>https://www.achs.cl/portal/Paginas/Home.aspx</a:t>
            </a:r>
            <a:endParaRPr lang="es-CL" sz="1800"/>
          </a:p>
          <a:p>
            <a:pPr marL="0" indent="0" algn="just">
              <a:buFontTx/>
              <a:buNone/>
            </a:pPr>
            <a:endParaRPr lang="es-CL" sz="1800">
              <a:solidFill>
                <a:srgbClr val="FF0000"/>
              </a:solidFill>
            </a:endParaRPr>
          </a:p>
          <a:p>
            <a:pPr marL="0" indent="0" algn="just">
              <a:buFontTx/>
              <a:buNone/>
            </a:pPr>
            <a:endParaRPr lang="es-CL" sz="1800" dirty="0"/>
          </a:p>
        </p:txBody>
      </p:sp>
      <p:pic>
        <p:nvPicPr>
          <p:cNvPr id="28" name="Imagen 27">
            <a:extLst>
              <a:ext uri="{FF2B5EF4-FFF2-40B4-BE49-F238E27FC236}">
                <a16:creationId xmlns:a16="http://schemas.microsoft.com/office/drawing/2014/main" id="{8EAB4E58-486C-43F7-BA38-4CE505FFA3B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7376" y="2070128"/>
            <a:ext cx="7771434" cy="4220576"/>
          </a:xfrm>
          <a:prstGeom prst="rect">
            <a:avLst/>
          </a:prstGeom>
        </p:spPr>
      </p:pic>
      <p:pic>
        <p:nvPicPr>
          <p:cNvPr id="29" name="Imagen 28">
            <a:extLst>
              <a:ext uri="{FF2B5EF4-FFF2-40B4-BE49-F238E27FC236}">
                <a16:creationId xmlns:a16="http://schemas.microsoft.com/office/drawing/2014/main" id="{E3886DD9-B1D5-4B0D-86CE-31F29D06A94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31826" y="1523339"/>
            <a:ext cx="3420896" cy="4456842"/>
          </a:xfrm>
          <a:prstGeom prst="rect">
            <a:avLst/>
          </a:prstGeom>
        </p:spPr>
      </p:pic>
      <p:pic>
        <p:nvPicPr>
          <p:cNvPr id="30" name="Imagen 29">
            <a:extLst>
              <a:ext uri="{FF2B5EF4-FFF2-40B4-BE49-F238E27FC236}">
                <a16:creationId xmlns:a16="http://schemas.microsoft.com/office/drawing/2014/main" id="{63D715E8-8829-4133-B4CA-9523EAC8229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93145" y="1763141"/>
            <a:ext cx="3467050" cy="4455955"/>
          </a:xfrm>
          <a:prstGeom prst="rect">
            <a:avLst/>
          </a:prstGeom>
        </p:spPr>
      </p:pic>
      <p:pic>
        <p:nvPicPr>
          <p:cNvPr id="31" name="Imagen 30">
            <a:extLst>
              <a:ext uri="{FF2B5EF4-FFF2-40B4-BE49-F238E27FC236}">
                <a16:creationId xmlns:a16="http://schemas.microsoft.com/office/drawing/2014/main" id="{54367D87-9CF1-4C7B-83B4-FE65C79F200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619398" y="1949367"/>
            <a:ext cx="3478823" cy="4455955"/>
          </a:xfrm>
          <a:prstGeom prst="rect">
            <a:avLst/>
          </a:prstGeom>
        </p:spPr>
      </p:pic>
      <p:pic>
        <p:nvPicPr>
          <p:cNvPr id="32" name="Imagen 31">
            <a:extLst>
              <a:ext uri="{FF2B5EF4-FFF2-40B4-BE49-F238E27FC236}">
                <a16:creationId xmlns:a16="http://schemas.microsoft.com/office/drawing/2014/main" id="{BF081305-0574-4763-B83F-3CA7774607B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012037" y="2309043"/>
            <a:ext cx="3440110" cy="4144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439891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build="p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150644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C37361C2-7D8D-F148-AE62-17BED1F4FE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C37361C2-7D8D-F148-AE62-17BED1F4FE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Marcador de texto 23">
            <a:extLst>
              <a:ext uri="{FF2B5EF4-FFF2-40B4-BE49-F238E27FC236}">
                <a16:creationId xmlns:a16="http://schemas.microsoft.com/office/drawing/2014/main" id="{42B9B605-B12F-6147-BFF4-BCAF18B25A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_tradnl" dirty="0"/>
              <a:t>Introducción</a:t>
            </a:r>
          </a:p>
        </p:txBody>
      </p:sp>
      <p:sp>
        <p:nvSpPr>
          <p:cNvPr id="25" name="Marcador de texto 24">
            <a:extLst>
              <a:ext uri="{FF2B5EF4-FFF2-40B4-BE49-F238E27FC236}">
                <a16:creationId xmlns:a16="http://schemas.microsoft.com/office/drawing/2014/main" id="{895E7C57-E423-7444-A1F9-CACBB7D8C0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s-ES_tradnl" dirty="0"/>
              <a:t>Objetivos</a:t>
            </a:r>
          </a:p>
        </p:txBody>
      </p:sp>
      <p:sp>
        <p:nvSpPr>
          <p:cNvPr id="33" name="Marcador de número de diapositiva 32">
            <a:extLst>
              <a:ext uri="{FF2B5EF4-FFF2-40B4-BE49-F238E27FC236}">
                <a16:creationId xmlns:a16="http://schemas.microsoft.com/office/drawing/2014/main" id="{D771257B-5667-DF49-BB0E-ADFCDD355D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970979" y="6463752"/>
            <a:ext cx="1844164" cy="365125"/>
          </a:xfrm>
        </p:spPr>
        <p:txBody>
          <a:bodyPr/>
          <a:lstStyle/>
          <a:p>
            <a:fld id="{B37290F3-BA30-9341-A10E-737EC97582C1}" type="slidenum">
              <a:rPr lang="es-CL" smtClean="0"/>
              <a:pPr/>
              <a:t>3</a:t>
            </a:fld>
            <a:endParaRPr lang="es-CL" dirty="0"/>
          </a:p>
        </p:txBody>
      </p:sp>
      <p:sp>
        <p:nvSpPr>
          <p:cNvPr id="10" name="Marcador de texto 9">
            <a:extLst>
              <a:ext uri="{FF2B5EF4-FFF2-40B4-BE49-F238E27FC236}">
                <a16:creationId xmlns:a16="http://schemas.microsoft.com/office/drawing/2014/main" id="{188F7E02-E3B0-E243-B6C7-271683C9815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9263" y="1334837"/>
            <a:ext cx="11365880" cy="1096129"/>
          </a:xfrm>
        </p:spPr>
        <p:txBody>
          <a:bodyPr/>
          <a:lstStyle/>
          <a:p>
            <a:pPr lvl="0">
              <a:buFont typeface="Arial" panose="020B0604020202020204" pitchFamily="34" charset="0"/>
              <a:buChar char="•"/>
            </a:pPr>
            <a:r>
              <a:rPr lang="es-CL" dirty="0"/>
              <a:t>Esta presentación tiene como objetivo difundir el protocolo de TMERT de Extremidades superiores </a:t>
            </a:r>
          </a:p>
          <a:p>
            <a:pPr lvl="0">
              <a:buFont typeface="Arial" panose="020B0604020202020204" pitchFamily="34" charset="0"/>
              <a:buChar char="•"/>
            </a:pPr>
            <a:r>
              <a:rPr lang="es-CL" dirty="0"/>
              <a:t>Incluye la explicación de los aspectos centrales del protocolo, su objetivo, exigencias normativas e implementación</a:t>
            </a:r>
          </a:p>
          <a:p>
            <a:pPr lvl="0">
              <a:buFont typeface="Arial" panose="020B0604020202020204" pitchFamily="34" charset="0"/>
              <a:buChar char="•"/>
            </a:pPr>
            <a:r>
              <a:rPr lang="es-CL" dirty="0"/>
              <a:t>La difusión se acompaña de la siguiente una ficha técnica de apoyo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A5E82E6B-F7BE-4D54-B848-B37D6212F5E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8049" t="20813" r="37652" b="22764"/>
          <a:stretch/>
        </p:blipFill>
        <p:spPr>
          <a:xfrm>
            <a:off x="4371278" y="2776841"/>
            <a:ext cx="2962509" cy="3869473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4250902793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C37361C2-7D8D-F148-AE62-17BED1F4FE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72192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C37361C2-7D8D-F148-AE62-17BED1F4FE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Marcador de texto 23">
            <a:extLst>
              <a:ext uri="{FF2B5EF4-FFF2-40B4-BE49-F238E27FC236}">
                <a16:creationId xmlns:a16="http://schemas.microsoft.com/office/drawing/2014/main" id="{42B9B605-B12F-6147-BFF4-BCAF18B25A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_tradnl" dirty="0"/>
              <a:t>Introducción</a:t>
            </a:r>
          </a:p>
        </p:txBody>
      </p:sp>
      <p:sp>
        <p:nvSpPr>
          <p:cNvPr id="25" name="Marcador de texto 24">
            <a:extLst>
              <a:ext uri="{FF2B5EF4-FFF2-40B4-BE49-F238E27FC236}">
                <a16:creationId xmlns:a16="http://schemas.microsoft.com/office/drawing/2014/main" id="{895E7C57-E423-7444-A1F9-CACBB7D8C0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s-ES_tradnl" dirty="0"/>
              <a:t>Historia</a:t>
            </a:r>
          </a:p>
        </p:txBody>
      </p:sp>
      <p:sp>
        <p:nvSpPr>
          <p:cNvPr id="33" name="Marcador de número de diapositiva 32">
            <a:extLst>
              <a:ext uri="{FF2B5EF4-FFF2-40B4-BE49-F238E27FC236}">
                <a16:creationId xmlns:a16="http://schemas.microsoft.com/office/drawing/2014/main" id="{D771257B-5667-DF49-BB0E-ADFCDD355D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970979" y="6463752"/>
            <a:ext cx="1844164" cy="365125"/>
          </a:xfrm>
        </p:spPr>
        <p:txBody>
          <a:bodyPr/>
          <a:lstStyle/>
          <a:p>
            <a:fld id="{B37290F3-BA30-9341-A10E-737EC97582C1}" type="slidenum">
              <a:rPr lang="es-CL" smtClean="0"/>
              <a:pPr/>
              <a:t>4</a:t>
            </a:fld>
            <a:endParaRPr lang="es-CL" dirty="0"/>
          </a:p>
        </p:txBody>
      </p:sp>
      <p:sp>
        <p:nvSpPr>
          <p:cNvPr id="10" name="Marcador de texto 9">
            <a:extLst>
              <a:ext uri="{FF2B5EF4-FFF2-40B4-BE49-F238E27FC236}">
                <a16:creationId xmlns:a16="http://schemas.microsoft.com/office/drawing/2014/main" id="{188F7E02-E3B0-E243-B6C7-271683C9815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9263" y="1334837"/>
            <a:ext cx="11365880" cy="2031100"/>
          </a:xfrm>
        </p:spPr>
        <p:txBody>
          <a:bodyPr/>
          <a:lstStyle/>
          <a:p>
            <a:pPr lvl="0"/>
            <a:endParaRPr lang="es-CL" dirty="0"/>
          </a:p>
          <a:p>
            <a:pPr lvl="0">
              <a:buFont typeface="Arial" panose="020B0604020202020204" pitchFamily="34" charset="0"/>
              <a:buChar char="•"/>
            </a:pPr>
            <a:r>
              <a:rPr lang="es-CL" dirty="0"/>
              <a:t>1700 Ramazzini describió afecciones causadas por movimientos violentos, irregulares y que suponían posturas insólitas.</a:t>
            </a:r>
          </a:p>
          <a:p>
            <a:pPr lvl="0">
              <a:buFont typeface="Arial" panose="020B0604020202020204" pitchFamily="34" charset="0"/>
              <a:buChar char="•"/>
            </a:pPr>
            <a:r>
              <a:rPr lang="es-CL" dirty="0"/>
              <a:t>1882 Robinson, Inglaterra “Calambre de los escribientes”</a:t>
            </a:r>
          </a:p>
          <a:p>
            <a:pPr lvl="0">
              <a:buFont typeface="Arial" panose="020B0604020202020204" pitchFamily="34" charset="0"/>
              <a:buChar char="•"/>
            </a:pPr>
            <a:r>
              <a:rPr lang="es-CL" dirty="0"/>
              <a:t>A finales del año 1900 se observaron manifestaciones similares en zapateros, sastres y ordeñadores.</a:t>
            </a:r>
          </a:p>
        </p:txBody>
      </p:sp>
      <p:pic>
        <p:nvPicPr>
          <p:cNvPr id="7" name="Picture 14">
            <a:extLst>
              <a:ext uri="{FF2B5EF4-FFF2-40B4-BE49-F238E27FC236}">
                <a16:creationId xmlns:a16="http://schemas.microsoft.com/office/drawing/2014/main" id="{C9CB797B-6231-4F9D-9826-676A43E788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69" t="16667" r="26563" b="11458"/>
          <a:stretch>
            <a:fillRect/>
          </a:stretch>
        </p:blipFill>
        <p:spPr bwMode="auto">
          <a:xfrm>
            <a:off x="4116574" y="3533348"/>
            <a:ext cx="2702651" cy="2143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13">
            <a:extLst>
              <a:ext uri="{FF2B5EF4-FFF2-40B4-BE49-F238E27FC236}">
                <a16:creationId xmlns:a16="http://schemas.microsoft.com/office/drawing/2014/main" id="{3E1EF432-F9E4-416C-85AD-EA2765D675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3" t="16667" r="32813" b="9375"/>
          <a:stretch>
            <a:fillRect/>
          </a:stretch>
        </p:blipFill>
        <p:spPr bwMode="auto">
          <a:xfrm>
            <a:off x="1133242" y="3492064"/>
            <a:ext cx="2633507" cy="2226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461" name="Picture 5" descr="Planta proceso | EPD NOTICIAS">
            <a:extLst>
              <a:ext uri="{FF2B5EF4-FFF2-40B4-BE49-F238E27FC236}">
                <a16:creationId xmlns:a16="http://schemas.microsoft.com/office/drawing/2014/main" id="{B0DBB5B9-AFC6-45C6-BDBD-2186530364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050" y="3510799"/>
            <a:ext cx="3711287" cy="2223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B66A9C12-4F7B-4232-9B92-87BC7EBB9486}"/>
              </a:ext>
            </a:extLst>
          </p:cNvPr>
          <p:cNvSpPr txBox="1"/>
          <p:nvPr/>
        </p:nvSpPr>
        <p:spPr>
          <a:xfrm>
            <a:off x="2795239" y="5462871"/>
            <a:ext cx="6601522" cy="112287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2438338" rtl="0" fontAlgn="auto" latinLnBrk="0" hangingPunct="0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s-CL" sz="16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t>“En la actualidad todavía existen labores donde se exige un uso importante y predominante de las Extremidades superiore</a:t>
            </a:r>
            <a:r>
              <a:rPr lang="es-CL" sz="1600" b="1" dirty="0"/>
              <a:t>s”</a:t>
            </a:r>
            <a:endParaRPr kumimoji="0" lang="es-CL" sz="16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564062549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C37361C2-7D8D-F148-AE62-17BED1F4FE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C37361C2-7D8D-F148-AE62-17BED1F4FE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Marcador de texto 23">
            <a:extLst>
              <a:ext uri="{FF2B5EF4-FFF2-40B4-BE49-F238E27FC236}">
                <a16:creationId xmlns:a16="http://schemas.microsoft.com/office/drawing/2014/main" id="{42B9B605-B12F-6147-BFF4-BCAF18B25A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_tradnl" dirty="0"/>
              <a:t>Introducción</a:t>
            </a:r>
          </a:p>
        </p:txBody>
      </p:sp>
      <p:sp>
        <p:nvSpPr>
          <p:cNvPr id="25" name="Marcador de texto 24">
            <a:extLst>
              <a:ext uri="{FF2B5EF4-FFF2-40B4-BE49-F238E27FC236}">
                <a16:creationId xmlns:a16="http://schemas.microsoft.com/office/drawing/2014/main" id="{895E7C57-E423-7444-A1F9-CACBB7D8C0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s-ES_tradnl" dirty="0"/>
              <a:t>Definiciones Trastornos Musculoesqueléticos (TME)</a:t>
            </a:r>
          </a:p>
        </p:txBody>
      </p:sp>
      <p:sp>
        <p:nvSpPr>
          <p:cNvPr id="33" name="Marcador de número de diapositiva 32">
            <a:extLst>
              <a:ext uri="{FF2B5EF4-FFF2-40B4-BE49-F238E27FC236}">
                <a16:creationId xmlns:a16="http://schemas.microsoft.com/office/drawing/2014/main" id="{D771257B-5667-DF49-BB0E-ADFCDD355D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970979" y="6463752"/>
            <a:ext cx="1844164" cy="365125"/>
          </a:xfrm>
        </p:spPr>
        <p:txBody>
          <a:bodyPr/>
          <a:lstStyle/>
          <a:p>
            <a:fld id="{B37290F3-BA30-9341-A10E-737EC97582C1}" type="slidenum">
              <a:rPr lang="es-CL" smtClean="0"/>
              <a:pPr/>
              <a:t>5</a:t>
            </a:fld>
            <a:endParaRPr lang="es-CL" dirty="0"/>
          </a:p>
        </p:txBody>
      </p:sp>
      <p:sp>
        <p:nvSpPr>
          <p:cNvPr id="10" name="Marcador de texto 9">
            <a:extLst>
              <a:ext uri="{FF2B5EF4-FFF2-40B4-BE49-F238E27FC236}">
                <a16:creationId xmlns:a16="http://schemas.microsoft.com/office/drawing/2014/main" id="{188F7E02-E3B0-E243-B6C7-271683C9815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9263" y="1397900"/>
            <a:ext cx="10322815" cy="3865476"/>
          </a:xfrm>
        </p:spPr>
        <p:txBody>
          <a:bodyPr/>
          <a:lstStyle/>
          <a:p>
            <a:pPr lvl="0" algn="just"/>
            <a:endParaRPr lang="es-CL" dirty="0"/>
          </a:p>
          <a:p>
            <a:pPr lvl="0" algn="just">
              <a:buFont typeface="Arial" panose="020B0604020202020204" pitchFamily="34" charset="0"/>
              <a:buChar char="•"/>
            </a:pPr>
            <a:r>
              <a:rPr lang="es-CL" dirty="0"/>
              <a:t>Es una </a:t>
            </a:r>
            <a:r>
              <a:rPr lang="es-CL" b="1" dirty="0"/>
              <a:t>lesión física originada por trauma acumulado, que se desarrolla gradualmente sobre un período de tiempo como resultado de repetidos esfuerzos sobre una parte específica del sistema musculoesquelético</a:t>
            </a:r>
            <a:r>
              <a:rPr lang="es-CL" dirty="0"/>
              <a:t>.  También puede desarrollarse por un esfuerzo puntual que sobrepasa la resistencia fisiológica de los tejidos que componen el sistema musculoesquelético. (MINSAL, 2011).</a:t>
            </a:r>
          </a:p>
          <a:p>
            <a:pPr lvl="0" algn="just">
              <a:buFont typeface="Arial" panose="020B0604020202020204" pitchFamily="34" charset="0"/>
              <a:buChar char="•"/>
            </a:pPr>
            <a:r>
              <a:rPr lang="es-CL" dirty="0"/>
              <a:t>Los trastornos musculoesqueléticos (TME) son enfermedades caracterizadas por una condición anormal de huesos, músculos, tendones, nervios, articulaciones o ligamentos que trae como consecuencia </a:t>
            </a:r>
            <a:r>
              <a:rPr lang="es-CL" b="1" dirty="0"/>
              <a:t>una alteración de la función motora o sensitiva.</a:t>
            </a:r>
            <a:r>
              <a:rPr lang="es-CL" dirty="0"/>
              <a:t> Estas patologías surgen cuando se sobre exige una determinada estructura y se excede el período de recuperación viscoelástico necesario de los tejidos demandados (López y Cuevas, 2008).</a:t>
            </a:r>
          </a:p>
          <a:p>
            <a:pPr lvl="0" algn="just">
              <a:buFont typeface="Arial" panose="020B0604020202020204" pitchFamily="34" charset="0"/>
              <a:buChar char="•"/>
            </a:pPr>
            <a:r>
              <a:rPr lang="es-CL" dirty="0"/>
              <a:t>Cuando </a:t>
            </a:r>
            <a:r>
              <a:rPr lang="es-CL" b="1" dirty="0"/>
              <a:t>los TME son causados, agravados o acelerados por las condiciones laborales o por la realización de la tarea, suele hacerse la acotación de que se trata de “TME relacionados al trabajo”, para diferenciarlos de aquellos con una vinculación distinta </a:t>
            </a:r>
            <a:r>
              <a:rPr lang="es-CL" dirty="0"/>
              <a:t>(</a:t>
            </a:r>
            <a:r>
              <a:rPr lang="es-CL" dirty="0" err="1"/>
              <a:t>Chandna</a:t>
            </a:r>
            <a:r>
              <a:rPr lang="es-CL" dirty="0"/>
              <a:t> et al, 2010).</a:t>
            </a:r>
          </a:p>
          <a:p>
            <a:pPr lvl="0" algn="just">
              <a:buFont typeface="Arial" panose="020B0604020202020204" pitchFamily="34" charset="0"/>
              <a:buChar char="•"/>
            </a:pPr>
            <a:endParaRPr lang="es-CL" dirty="0"/>
          </a:p>
          <a:p>
            <a:pPr lvl="0" algn="just">
              <a:buFont typeface="Arial" panose="020B0604020202020204" pitchFamily="34" charset="0"/>
              <a:buChar char="•"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097179026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C37361C2-7D8D-F148-AE62-17BED1F4FE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C37361C2-7D8D-F148-AE62-17BED1F4FE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Marcador de texto 23">
            <a:extLst>
              <a:ext uri="{FF2B5EF4-FFF2-40B4-BE49-F238E27FC236}">
                <a16:creationId xmlns:a16="http://schemas.microsoft.com/office/drawing/2014/main" id="{42B9B605-B12F-6147-BFF4-BCAF18B25A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_tradnl" dirty="0"/>
              <a:t>Introducción</a:t>
            </a:r>
          </a:p>
        </p:txBody>
      </p:sp>
      <p:sp>
        <p:nvSpPr>
          <p:cNvPr id="25" name="Marcador de texto 24">
            <a:extLst>
              <a:ext uri="{FF2B5EF4-FFF2-40B4-BE49-F238E27FC236}">
                <a16:creationId xmlns:a16="http://schemas.microsoft.com/office/drawing/2014/main" id="{895E7C57-E423-7444-A1F9-CACBB7D8C0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s-ES_tradnl" dirty="0"/>
              <a:t>Las extremidades superiores </a:t>
            </a:r>
          </a:p>
        </p:txBody>
      </p:sp>
      <p:sp>
        <p:nvSpPr>
          <p:cNvPr id="33" name="Marcador de número de diapositiva 32">
            <a:extLst>
              <a:ext uri="{FF2B5EF4-FFF2-40B4-BE49-F238E27FC236}">
                <a16:creationId xmlns:a16="http://schemas.microsoft.com/office/drawing/2014/main" id="{D771257B-5667-DF49-BB0E-ADFCDD355D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970979" y="6463752"/>
            <a:ext cx="1844164" cy="365125"/>
          </a:xfrm>
        </p:spPr>
        <p:txBody>
          <a:bodyPr/>
          <a:lstStyle/>
          <a:p>
            <a:fld id="{B37290F3-BA30-9341-A10E-737EC97582C1}" type="slidenum">
              <a:rPr lang="es-CL" smtClean="0"/>
              <a:pPr/>
              <a:t>6</a:t>
            </a:fld>
            <a:endParaRPr lang="es-CL" dirty="0"/>
          </a:p>
        </p:txBody>
      </p:sp>
      <p:sp>
        <p:nvSpPr>
          <p:cNvPr id="9" name="3 CuadroTexto">
            <a:extLst>
              <a:ext uri="{FF2B5EF4-FFF2-40B4-BE49-F238E27FC236}">
                <a16:creationId xmlns:a16="http://schemas.microsoft.com/office/drawing/2014/main" id="{8412DEC0-6220-4087-BE44-8FE6B251A6C3}"/>
              </a:ext>
            </a:extLst>
          </p:cNvPr>
          <p:cNvSpPr txBox="1"/>
          <p:nvPr/>
        </p:nvSpPr>
        <p:spPr>
          <a:xfrm>
            <a:off x="6096000" y="1572817"/>
            <a:ext cx="3960440" cy="9792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sz="1600" dirty="0">
                <a:solidFill>
                  <a:prstClr val="black"/>
                </a:solidFill>
              </a:rPr>
              <a:t>Estas son la estructuras a nivel de hombro-codo-muñeca y mano que sometidas a ciertas exigencias (factores de riesgo) pueden provocar: </a:t>
            </a:r>
          </a:p>
        </p:txBody>
      </p:sp>
      <p:graphicFrame>
        <p:nvGraphicFramePr>
          <p:cNvPr id="11" name="4 Diagrama">
            <a:extLst>
              <a:ext uri="{FF2B5EF4-FFF2-40B4-BE49-F238E27FC236}">
                <a16:creationId xmlns:a16="http://schemas.microsoft.com/office/drawing/2014/main" id="{A1DC50E3-495F-4471-87A8-2EAE6FA371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47881765"/>
              </p:ext>
            </p:extLst>
          </p:nvPr>
        </p:nvGraphicFramePr>
        <p:xfrm>
          <a:off x="6535035" y="3007754"/>
          <a:ext cx="3032520" cy="25202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pic>
        <p:nvPicPr>
          <p:cNvPr id="12" name="Picture 2" descr="Miembro superior">
            <a:extLst>
              <a:ext uri="{FF2B5EF4-FFF2-40B4-BE49-F238E27FC236}">
                <a16:creationId xmlns:a16="http://schemas.microsoft.com/office/drawing/2014/main" id="{F90F894F-A98E-42DA-88C5-D054B8E5C7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2210" y="1387188"/>
            <a:ext cx="4219036" cy="50765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6 CuadroTexto">
            <a:extLst>
              <a:ext uri="{FF2B5EF4-FFF2-40B4-BE49-F238E27FC236}">
                <a16:creationId xmlns:a16="http://schemas.microsoft.com/office/drawing/2014/main" id="{803BE3BB-C7F3-41C9-A3F3-700423CF2EEA}"/>
              </a:ext>
            </a:extLst>
          </p:cNvPr>
          <p:cNvSpPr txBox="1"/>
          <p:nvPr/>
        </p:nvSpPr>
        <p:spPr>
          <a:xfrm>
            <a:off x="5974611" y="5810480"/>
            <a:ext cx="4442665" cy="646331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just" defTabSz="914400" hangingPunct="1">
              <a:lnSpc>
                <a:spcPct val="100000"/>
              </a:lnSpc>
              <a:spcBef>
                <a:spcPts val="0"/>
              </a:spcBef>
            </a:pPr>
            <a:r>
              <a:rPr lang="es-CL" sz="1800" b="1" kern="1200" dirty="0">
                <a:solidFill>
                  <a:prstClr val="black"/>
                </a:solidFill>
                <a:latin typeface="Calibri"/>
              </a:rPr>
              <a:t>Por eso es importante detectar estos factores a tiempo para poder prevenir  TME </a:t>
            </a:r>
          </a:p>
        </p:txBody>
      </p:sp>
    </p:spTree>
    <p:extLst>
      <p:ext uri="{BB962C8B-B14F-4D97-AF65-F5344CB8AC3E}">
        <p14:creationId xmlns:p14="http://schemas.microsoft.com/office/powerpoint/2010/main" val="1649802328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C37361C2-7D8D-F148-AE62-17BED1F4FE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C37361C2-7D8D-F148-AE62-17BED1F4FE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Marcador de texto 23">
            <a:extLst>
              <a:ext uri="{FF2B5EF4-FFF2-40B4-BE49-F238E27FC236}">
                <a16:creationId xmlns:a16="http://schemas.microsoft.com/office/drawing/2014/main" id="{42B9B605-B12F-6147-BFF4-BCAF18B25A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_tradnl" dirty="0"/>
              <a:t>Introducción</a:t>
            </a:r>
          </a:p>
        </p:txBody>
      </p:sp>
      <p:sp>
        <p:nvSpPr>
          <p:cNvPr id="25" name="Marcador de texto 24">
            <a:extLst>
              <a:ext uri="{FF2B5EF4-FFF2-40B4-BE49-F238E27FC236}">
                <a16:creationId xmlns:a16="http://schemas.microsoft.com/office/drawing/2014/main" id="{895E7C57-E423-7444-A1F9-CACBB7D8C0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s-ES_tradnl" dirty="0"/>
              <a:t>Por qué es importante prevenir TMERT</a:t>
            </a:r>
          </a:p>
        </p:txBody>
      </p:sp>
      <p:sp>
        <p:nvSpPr>
          <p:cNvPr id="33" name="Marcador de número de diapositiva 32">
            <a:extLst>
              <a:ext uri="{FF2B5EF4-FFF2-40B4-BE49-F238E27FC236}">
                <a16:creationId xmlns:a16="http://schemas.microsoft.com/office/drawing/2014/main" id="{D771257B-5667-DF49-BB0E-ADFCDD355D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970979" y="6463752"/>
            <a:ext cx="1844164" cy="365125"/>
          </a:xfrm>
        </p:spPr>
        <p:txBody>
          <a:bodyPr/>
          <a:lstStyle/>
          <a:p>
            <a:fld id="{B37290F3-BA30-9341-A10E-737EC97582C1}" type="slidenum">
              <a:rPr lang="es-CL" smtClean="0"/>
              <a:pPr/>
              <a:t>7</a:t>
            </a:fld>
            <a:endParaRPr lang="es-CL" dirty="0"/>
          </a:p>
        </p:txBody>
      </p:sp>
      <p:sp>
        <p:nvSpPr>
          <p:cNvPr id="10" name="Marcador de texto 9">
            <a:extLst>
              <a:ext uri="{FF2B5EF4-FFF2-40B4-BE49-F238E27FC236}">
                <a16:creationId xmlns:a16="http://schemas.microsoft.com/office/drawing/2014/main" id="{188F7E02-E3B0-E243-B6C7-271683C9815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97828" y="1329912"/>
            <a:ext cx="4153752" cy="2929854"/>
          </a:xfrm>
        </p:spPr>
        <p:txBody>
          <a:bodyPr/>
          <a:lstStyle/>
          <a:p>
            <a:pPr lvl="0"/>
            <a:endParaRPr lang="es-CL" dirty="0"/>
          </a:p>
          <a:p>
            <a:pPr lvl="0">
              <a:buFont typeface="Arial" panose="020B0604020202020204" pitchFamily="34" charset="0"/>
              <a:buChar char="•"/>
            </a:pPr>
            <a:r>
              <a:rPr lang="es-CL" dirty="0"/>
              <a:t>Entre 7000 a 8000 </a:t>
            </a:r>
            <a:r>
              <a:rPr lang="es-CL" u="sng" dirty="0"/>
              <a:t>denuncias</a:t>
            </a:r>
            <a:r>
              <a:rPr lang="es-CL" dirty="0"/>
              <a:t> promedio en un año. </a:t>
            </a:r>
          </a:p>
          <a:p>
            <a:pPr lvl="0">
              <a:buFont typeface="Arial" panose="020B0604020202020204" pitchFamily="34" charset="0"/>
              <a:buChar char="•"/>
            </a:pPr>
            <a:r>
              <a:rPr lang="es-CL" dirty="0"/>
              <a:t>¿Cuántos sintomáticos tenemos en nuestra empresa?</a:t>
            </a:r>
          </a:p>
          <a:p>
            <a:pPr lvl="0">
              <a:buFont typeface="Arial" panose="020B0604020202020204" pitchFamily="34" charset="0"/>
              <a:buChar char="•"/>
            </a:pPr>
            <a:r>
              <a:rPr lang="es-CL" dirty="0"/>
              <a:t>¿Qué significa tener trabajadores sintomáticos en nuestra empresa?</a:t>
            </a:r>
          </a:p>
          <a:p>
            <a:pPr lvl="0">
              <a:buFont typeface="Arial" panose="020B0604020202020204" pitchFamily="34" charset="0"/>
              <a:buChar char="•"/>
            </a:pPr>
            <a:r>
              <a:rPr lang="es-CL" dirty="0"/>
              <a:t>¿Cuántos de esos sintomáticos pueden desarrollar una Enfermedad profesional?</a:t>
            </a:r>
          </a:p>
          <a:p>
            <a:pPr lvl="0">
              <a:buFont typeface="Arial" panose="020B0604020202020204" pitchFamily="34" charset="0"/>
              <a:buChar char="•"/>
            </a:pPr>
            <a:endParaRPr lang="es-CL" dirty="0"/>
          </a:p>
          <a:p>
            <a:pPr lvl="0">
              <a:buFont typeface="Arial" panose="020B0604020202020204" pitchFamily="34" charset="0"/>
              <a:buChar char="•"/>
            </a:pPr>
            <a:endParaRPr lang="es-CL" dirty="0"/>
          </a:p>
          <a:p>
            <a:pPr lvl="0">
              <a:buFont typeface="Arial" panose="020B0604020202020204" pitchFamily="34" charset="0"/>
              <a:buChar char="•"/>
            </a:pPr>
            <a:endParaRPr lang="es-CL" dirty="0"/>
          </a:p>
          <a:p>
            <a:pPr marL="0" lvl="0" indent="0" algn="ctr"/>
            <a:r>
              <a:rPr lang="es-CL" dirty="0"/>
              <a:t>EL FOCO DEBE SER EVITAR ENFERMOS, EVITAR MERMAS PRODUCTIVAS Y NO SIMPLEMENTE “CUMPLIR CON LA LEY”</a:t>
            </a:r>
          </a:p>
        </p:txBody>
      </p:sp>
      <p:graphicFrame>
        <p:nvGraphicFramePr>
          <p:cNvPr id="11" name="Gráfico 10">
            <a:extLst>
              <a:ext uri="{FF2B5EF4-FFF2-40B4-BE49-F238E27FC236}">
                <a16:creationId xmlns:a16="http://schemas.microsoft.com/office/drawing/2014/main" id="{D69DC02B-12FA-41B0-B458-57C55030CC0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7490874"/>
              </p:ext>
            </p:extLst>
          </p:nvPr>
        </p:nvGraphicFramePr>
        <p:xfrm>
          <a:off x="549624" y="1329912"/>
          <a:ext cx="6104577" cy="5238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228193878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C37361C2-7D8D-F148-AE62-17BED1F4FE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C37361C2-7D8D-F148-AE62-17BED1F4FE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Marcador de texto 23">
            <a:extLst>
              <a:ext uri="{FF2B5EF4-FFF2-40B4-BE49-F238E27FC236}">
                <a16:creationId xmlns:a16="http://schemas.microsoft.com/office/drawing/2014/main" id="{42B9B605-B12F-6147-BFF4-BCAF18B25A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_tradnl" dirty="0"/>
              <a:t>Factores de riesgo de TMERT</a:t>
            </a:r>
          </a:p>
        </p:txBody>
      </p:sp>
      <p:sp>
        <p:nvSpPr>
          <p:cNvPr id="25" name="Marcador de texto 24">
            <a:extLst>
              <a:ext uri="{FF2B5EF4-FFF2-40B4-BE49-F238E27FC236}">
                <a16:creationId xmlns:a16="http://schemas.microsoft.com/office/drawing/2014/main" id="{895E7C57-E423-7444-A1F9-CACBB7D8C0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s-ES_tradnl" dirty="0"/>
              <a:t>Evidencia para extremidades superiores (sobrecarga biomecánica) </a:t>
            </a:r>
          </a:p>
        </p:txBody>
      </p:sp>
      <p:sp>
        <p:nvSpPr>
          <p:cNvPr id="33" name="Marcador de número de diapositiva 32">
            <a:extLst>
              <a:ext uri="{FF2B5EF4-FFF2-40B4-BE49-F238E27FC236}">
                <a16:creationId xmlns:a16="http://schemas.microsoft.com/office/drawing/2014/main" id="{D771257B-5667-DF49-BB0E-ADFCDD355D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970979" y="6375539"/>
            <a:ext cx="1844164" cy="365125"/>
          </a:xfrm>
        </p:spPr>
        <p:txBody>
          <a:bodyPr/>
          <a:lstStyle/>
          <a:p>
            <a:fld id="{B37290F3-BA30-9341-A10E-737EC97582C1}" type="slidenum">
              <a:rPr lang="es-CL" smtClean="0"/>
              <a:pPr/>
              <a:t>8</a:t>
            </a:fld>
            <a:endParaRPr lang="es-CL" dirty="0"/>
          </a:p>
        </p:txBody>
      </p:sp>
      <p:sp>
        <p:nvSpPr>
          <p:cNvPr id="13" name="Text Box 5">
            <a:extLst>
              <a:ext uri="{FF2B5EF4-FFF2-40B4-BE49-F238E27FC236}">
                <a16:creationId xmlns:a16="http://schemas.microsoft.com/office/drawing/2014/main" id="{0B25A9A0-19F7-4A1A-B6B5-ABB9668BC1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5153" y="2693387"/>
            <a:ext cx="1725216" cy="1507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516" tIns="45258" rIns="90516" bIns="45258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defTabSz="914400" eaLnBrk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s-ES_tradnl" b="1" kern="1200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Factores </a:t>
            </a:r>
          </a:p>
          <a:p>
            <a:pPr algn="r" defTabSz="914400" eaLnBrk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s-ES_tradnl" b="1" kern="1200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de Riesgo</a:t>
            </a:r>
          </a:p>
          <a:p>
            <a:pPr algn="r" defTabSz="914400" eaLnBrk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s-ES_tradnl" sz="2000" b="1" i="1" kern="1200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(publicados en la literatura)</a:t>
            </a:r>
            <a:r>
              <a:rPr lang="es-ES_tradnl" b="1" kern="1200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</a:t>
            </a:r>
            <a:endParaRPr lang="es-ES" sz="2000" kern="1200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14" name="Rectangle 9">
            <a:extLst>
              <a:ext uri="{FF2B5EF4-FFF2-40B4-BE49-F238E27FC236}">
                <a16:creationId xmlns:a16="http://schemas.microsoft.com/office/drawing/2014/main" id="{5EB1481B-A601-4893-AE8C-A12EDDE00F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70909" y="1671794"/>
            <a:ext cx="5925741" cy="39693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516" tIns="45258" rIns="90516" bIns="45258">
            <a:spAutoFit/>
          </a:bodyPr>
          <a:lstStyle/>
          <a:p>
            <a:pPr marL="339437" indent="-339437" defTabSz="914400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</a:pPr>
            <a:r>
              <a:rPr lang="es-CL" sz="140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Existe fuerte evidencia del efecto combinado de... </a:t>
            </a:r>
          </a:p>
          <a:p>
            <a:pPr marL="339437" indent="-339437" defTabSz="914400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</a:pPr>
            <a:endParaRPr lang="es-CL" sz="1400" dirty="0">
              <a:solidFill>
                <a:schemeClr val="tx2"/>
              </a:solidFill>
              <a:latin typeface="Arial"/>
              <a:cs typeface="Arial"/>
              <a:sym typeface="Arial"/>
            </a:endParaRPr>
          </a:p>
          <a:p>
            <a:pPr marL="339437" indent="-339437" defTabSz="914400" fontAlgn="base" hangingPunct="1">
              <a:lnSpc>
                <a:spcPct val="100000"/>
              </a:lnSpc>
              <a:spcBef>
                <a:spcPct val="5000"/>
              </a:spcBef>
              <a:spcAft>
                <a:spcPct val="5000"/>
              </a:spcAft>
              <a:buFontTx/>
              <a:buAutoNum type="arabicPeriod"/>
            </a:pPr>
            <a:r>
              <a:rPr lang="es-CL" sz="140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Repetitividad de acciones técnicas</a:t>
            </a:r>
          </a:p>
          <a:p>
            <a:pPr marL="339437" indent="-339437" defTabSz="914400" fontAlgn="base" hangingPunct="1">
              <a:lnSpc>
                <a:spcPct val="100000"/>
              </a:lnSpc>
              <a:spcBef>
                <a:spcPct val="5000"/>
              </a:spcBef>
              <a:spcAft>
                <a:spcPct val="5000"/>
              </a:spcAft>
              <a:buFontTx/>
              <a:buAutoNum type="arabicPeriod"/>
            </a:pPr>
            <a:r>
              <a:rPr lang="es-CL" sz="140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Fuerza</a:t>
            </a:r>
          </a:p>
          <a:p>
            <a:pPr marL="339437" indent="-339437" defTabSz="914400" fontAlgn="base" hangingPunct="1">
              <a:lnSpc>
                <a:spcPct val="100000"/>
              </a:lnSpc>
              <a:spcBef>
                <a:spcPct val="5000"/>
              </a:spcBef>
              <a:spcAft>
                <a:spcPct val="5000"/>
              </a:spcAft>
              <a:buFontTx/>
              <a:buAutoNum type="arabicPeriod"/>
            </a:pPr>
            <a:r>
              <a:rPr lang="es-CL" sz="140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Posturas</a:t>
            </a:r>
          </a:p>
          <a:p>
            <a:pPr marL="339437" indent="-339437" defTabSz="914400" fontAlgn="base" hangingPunct="1">
              <a:lnSpc>
                <a:spcPct val="100000"/>
              </a:lnSpc>
              <a:spcBef>
                <a:spcPct val="5000"/>
              </a:spcBef>
              <a:spcAft>
                <a:spcPct val="5000"/>
              </a:spcAft>
              <a:buFontTx/>
              <a:buAutoNum type="arabicPeriod"/>
            </a:pPr>
            <a:r>
              <a:rPr lang="es-CL" sz="140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Falta de períodos de recuperación</a:t>
            </a:r>
          </a:p>
          <a:p>
            <a:pPr marL="339437" indent="-339437" defTabSz="914400" fontAlgn="base" hangingPunct="1">
              <a:lnSpc>
                <a:spcPct val="100000"/>
              </a:lnSpc>
              <a:spcBef>
                <a:spcPct val="5000"/>
              </a:spcBef>
              <a:spcAft>
                <a:spcPct val="5000"/>
              </a:spcAft>
              <a:buFontTx/>
              <a:buAutoNum type="arabicPeriod"/>
            </a:pPr>
            <a:r>
              <a:rPr lang="es-CL" sz="140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Exposición a vibración</a:t>
            </a:r>
          </a:p>
          <a:p>
            <a:pPr marL="339437" indent="-339437" defTabSz="914400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CL" sz="1400" dirty="0">
              <a:solidFill>
                <a:schemeClr val="tx2"/>
              </a:solidFill>
              <a:latin typeface="Arial"/>
              <a:cs typeface="Arial"/>
              <a:sym typeface="Arial"/>
            </a:endParaRPr>
          </a:p>
          <a:p>
            <a:pPr marL="339437" indent="-339437" defTabSz="914400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s-CL" sz="140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Aunque esta misma evidencia es más débil para</a:t>
            </a:r>
          </a:p>
          <a:p>
            <a:pPr marL="339437" indent="-339437" defTabSz="914400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s-CL" sz="140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cada factor causal en forma individual.</a:t>
            </a:r>
          </a:p>
          <a:p>
            <a:pPr marL="339437" indent="-339437" defTabSz="914400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CL" sz="1400" dirty="0">
              <a:solidFill>
                <a:schemeClr val="tx2"/>
              </a:solidFill>
              <a:latin typeface="Arial"/>
              <a:cs typeface="Arial"/>
              <a:sym typeface="Arial"/>
            </a:endParaRPr>
          </a:p>
          <a:p>
            <a:pPr marL="339437" indent="-339437" defTabSz="914400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s-CL" sz="140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Existen factores individuales (Ej. antecedentes médicos </a:t>
            </a:r>
          </a:p>
          <a:p>
            <a:pPr marL="339437" indent="-339437" defTabSz="914400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s-CL" sz="140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previos) y no laborales (Ej. práctica de deportes, </a:t>
            </a:r>
          </a:p>
          <a:p>
            <a:pPr marL="339437" indent="-339437" defTabSz="914400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s-CL" sz="140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pasatiempos). </a:t>
            </a:r>
          </a:p>
          <a:p>
            <a:pPr marL="339437" indent="-339437" defTabSz="914400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CL" sz="1400" dirty="0">
              <a:solidFill>
                <a:schemeClr val="tx2"/>
              </a:solidFill>
              <a:latin typeface="Arial"/>
              <a:cs typeface="Arial"/>
              <a:sym typeface="Arial"/>
            </a:endParaRPr>
          </a:p>
          <a:p>
            <a:pPr marL="339437" indent="-339437" defTabSz="914400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s-CL" sz="140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Los factores psicosociales pueden incidir en el desarrollo</a:t>
            </a:r>
          </a:p>
          <a:p>
            <a:pPr marL="339437" indent="-339437" defTabSz="914400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s-CL" sz="140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de estas patologías (NIOSH 1997; </a:t>
            </a:r>
            <a:r>
              <a:rPr lang="es-CL" sz="1400" dirty="0" err="1">
                <a:solidFill>
                  <a:schemeClr val="tx2"/>
                </a:solidFill>
                <a:latin typeface="Arial"/>
                <a:cs typeface="Arial"/>
                <a:sym typeface="Arial"/>
              </a:rPr>
              <a:t>Punnet</a:t>
            </a:r>
            <a:r>
              <a:rPr lang="es-CL" sz="140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 y </a:t>
            </a:r>
            <a:r>
              <a:rPr lang="es-ES" sz="1400" dirty="0" err="1">
                <a:solidFill>
                  <a:schemeClr val="tx2"/>
                </a:solidFill>
                <a:latin typeface="Arial"/>
                <a:cs typeface="Arial"/>
                <a:sym typeface="Arial"/>
              </a:rPr>
              <a:t>Wegman</a:t>
            </a:r>
            <a:r>
              <a:rPr lang="es-ES" sz="140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 2004).</a:t>
            </a:r>
            <a:endParaRPr lang="en-US" sz="1400" dirty="0">
              <a:solidFill>
                <a:schemeClr val="tx2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5" name="Line 10">
            <a:extLst>
              <a:ext uri="{FF2B5EF4-FFF2-40B4-BE49-F238E27FC236}">
                <a16:creationId xmlns:a16="http://schemas.microsoft.com/office/drawing/2014/main" id="{3C1B0EE4-4538-413D-A2E0-34506513817F}"/>
              </a:ext>
            </a:extLst>
          </p:cNvPr>
          <p:cNvSpPr>
            <a:spLocks noChangeShapeType="1"/>
          </p:cNvSpPr>
          <p:nvPr/>
        </p:nvSpPr>
        <p:spPr bwMode="auto">
          <a:xfrm>
            <a:off x="2411377" y="1522971"/>
            <a:ext cx="1563" cy="4636365"/>
          </a:xfrm>
          <a:prstGeom prst="line">
            <a:avLst/>
          </a:prstGeom>
          <a:noFill/>
          <a:ln w="38100">
            <a:solidFill>
              <a:srgbClr val="0033C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0516" tIns="45258" rIns="90516" bIns="45258"/>
          <a:lstStyle/>
          <a:p>
            <a:pPr defTabSz="914400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CL" sz="1600" kern="1200">
              <a:cs typeface="Arial" pitchFamily="34" charset="0"/>
            </a:endParaRPr>
          </a:p>
        </p:txBody>
      </p:sp>
      <p:sp>
        <p:nvSpPr>
          <p:cNvPr id="16" name="Line 11">
            <a:extLst>
              <a:ext uri="{FF2B5EF4-FFF2-40B4-BE49-F238E27FC236}">
                <a16:creationId xmlns:a16="http://schemas.microsoft.com/office/drawing/2014/main" id="{71A9271B-878A-4723-8329-7EA0716ADC46}"/>
              </a:ext>
            </a:extLst>
          </p:cNvPr>
          <p:cNvSpPr>
            <a:spLocks noChangeShapeType="1"/>
          </p:cNvSpPr>
          <p:nvPr/>
        </p:nvSpPr>
        <p:spPr bwMode="auto">
          <a:xfrm>
            <a:off x="2145497" y="3500693"/>
            <a:ext cx="205847" cy="0"/>
          </a:xfrm>
          <a:prstGeom prst="line">
            <a:avLst/>
          </a:prstGeom>
          <a:noFill/>
          <a:ln w="28575">
            <a:solidFill>
              <a:srgbClr val="0033C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0516" tIns="45258" rIns="90516" bIns="45258"/>
          <a:lstStyle/>
          <a:p>
            <a:pPr defTabSz="914400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CL" sz="1600" kern="1200">
              <a:cs typeface="Arial" pitchFamily="34" charset="0"/>
            </a:endParaRPr>
          </a:p>
        </p:txBody>
      </p:sp>
      <p:pic>
        <p:nvPicPr>
          <p:cNvPr id="17" name="3 Imagen" descr="ICOH - International Commission on Occupational Health | Homepage. - Google Chrome">
            <a:extLst>
              <a:ext uri="{FF2B5EF4-FFF2-40B4-BE49-F238E27FC236}">
                <a16:creationId xmlns:a16="http://schemas.microsoft.com/office/drawing/2014/main" id="{25983C12-50CF-47EE-90F4-F825F14C463C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0" t="14413" r="39067" b="74069"/>
          <a:stretch/>
        </p:blipFill>
        <p:spPr>
          <a:xfrm>
            <a:off x="7782956" y="4145447"/>
            <a:ext cx="3380302" cy="559755"/>
          </a:xfrm>
          <a:prstGeom prst="rect">
            <a:avLst/>
          </a:prstGeom>
        </p:spPr>
      </p:pic>
      <p:sp>
        <p:nvSpPr>
          <p:cNvPr id="18" name="Text Box 9">
            <a:extLst>
              <a:ext uri="{FF2B5EF4-FFF2-40B4-BE49-F238E27FC236}">
                <a16:creationId xmlns:a16="http://schemas.microsoft.com/office/drawing/2014/main" id="{59524FE4-0E23-416D-8B01-3F9C7795CE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08220" y="2870120"/>
            <a:ext cx="3129775" cy="10895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it-IT" sz="1800" b="1" dirty="0">
                <a:solidFill>
                  <a:schemeClr val="bg2">
                    <a:lumMod val="10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rPr>
              <a:t>Documento de consenso de la IEA (Internacional Ergonomics Association</a:t>
            </a:r>
            <a:r>
              <a:rPr kumimoji="0" lang="it-IT" sz="1800" b="1" dirty="0">
                <a:solidFill>
                  <a:schemeClr val="bg2">
                    <a:lumMod val="10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rPr>
              <a:t>, Aprobado por la ICOH</a:t>
            </a:r>
          </a:p>
        </p:txBody>
      </p:sp>
    </p:spTree>
    <p:extLst>
      <p:ext uri="{BB962C8B-B14F-4D97-AF65-F5344CB8AC3E}">
        <p14:creationId xmlns:p14="http://schemas.microsoft.com/office/powerpoint/2010/main" val="1483828587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433" name="Rectangle 14"/>
          <p:cNvSpPr>
            <a:spLocks noChangeArrowheads="1"/>
          </p:cNvSpPr>
          <p:nvPr/>
        </p:nvSpPr>
        <p:spPr bwMode="auto">
          <a:xfrm>
            <a:off x="654825" y="1041945"/>
            <a:ext cx="3428504" cy="626518"/>
          </a:xfrm>
          <a:prstGeom prst="rect">
            <a:avLst/>
          </a:prstGeom>
          <a:noFill/>
          <a:ln>
            <a:noFill/>
          </a:ln>
          <a:effectLst>
            <a:prstShdw prst="shdw13" dist="53882" dir="13500000">
              <a:schemeClr val="bg2">
                <a:alpha val="50000"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/>
          <a:p>
            <a:pPr marL="342900" indent="-342900" eaLnBrk="0">
              <a:lnSpc>
                <a:spcPct val="140000"/>
              </a:lnSpc>
            </a:pPr>
            <a:r>
              <a:rPr lang="es-ES_tradnl" sz="2800" b="1" u="sng" dirty="0">
                <a:solidFill>
                  <a:srgbClr val="009900"/>
                </a:solidFill>
                <a:ea typeface="ＭＳ Ｐゴシック"/>
                <a:cs typeface="ＭＳ Ｐゴシック"/>
              </a:rPr>
              <a:t>Repetitividad:</a:t>
            </a:r>
          </a:p>
        </p:txBody>
      </p:sp>
      <p:sp>
        <p:nvSpPr>
          <p:cNvPr id="402434" name="Rectangle 6"/>
          <p:cNvSpPr>
            <a:spLocks noChangeArrowheads="1"/>
          </p:cNvSpPr>
          <p:nvPr/>
        </p:nvSpPr>
        <p:spPr bwMode="auto">
          <a:xfrm>
            <a:off x="766901" y="1904564"/>
            <a:ext cx="4894263" cy="2585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just"/>
            <a:r>
              <a:rPr lang="es-ES" sz="2000" dirty="0"/>
              <a:t>La repetitividad es uno de los factores de riesgo de mayor importancia en la generación de lesiones. </a:t>
            </a:r>
            <a:r>
              <a:rPr lang="es-ES" sz="2000" b="1" dirty="0">
                <a:solidFill>
                  <a:schemeClr val="accent6">
                    <a:lumMod val="75000"/>
                  </a:schemeClr>
                </a:solidFill>
              </a:rPr>
              <a:t>Se deberá analizar una tarea con repetitividad cuando los ciclos de trabajo </a:t>
            </a:r>
            <a:r>
              <a:rPr lang="es-ES" sz="2000" b="1" u="sng" dirty="0">
                <a:solidFill>
                  <a:schemeClr val="accent6">
                    <a:lumMod val="75000"/>
                  </a:schemeClr>
                </a:solidFill>
              </a:rPr>
              <a:t>duren menos de 30 segundos (altamente repetitivo) y/o cuando en el 50% o más del ciclo haya que ejecutar a menudo el mismo</a:t>
            </a:r>
            <a:r>
              <a:rPr lang="es-ES" sz="2000" b="1" dirty="0">
                <a:solidFill>
                  <a:schemeClr val="accent6">
                    <a:lumMod val="75000"/>
                  </a:schemeClr>
                </a:solidFill>
              </a:rPr>
              <a:t> tipo de acción. </a:t>
            </a:r>
          </a:p>
        </p:txBody>
      </p:sp>
      <p:pic>
        <p:nvPicPr>
          <p:cNvPr id="31749" name="Picture 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697789" y="3330575"/>
            <a:ext cx="2384425" cy="1366838"/>
          </a:xfrm>
          <a:prstGeom prst="rect">
            <a:avLst/>
          </a:prstGeom>
          <a:noFill/>
          <a:ln>
            <a:noFill/>
          </a:ln>
          <a:effectLst>
            <a:prstShdw prst="shdw13" dist="53882" dir="13500000">
              <a:schemeClr val="accent1">
                <a:gamma/>
                <a:shade val="60000"/>
                <a:invGamma/>
                <a:alpha val="50000"/>
              </a:schemeClr>
            </a:prstShdw>
          </a:effectLst>
        </p:spPr>
      </p:pic>
      <p:pic>
        <p:nvPicPr>
          <p:cNvPr id="31750" name="Picture 6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691438" y="246063"/>
            <a:ext cx="2386012" cy="1422400"/>
          </a:xfrm>
          <a:prstGeom prst="rect">
            <a:avLst/>
          </a:prstGeom>
          <a:noFill/>
          <a:ln>
            <a:noFill/>
          </a:ln>
          <a:effectLst>
            <a:prstShdw prst="shdw13" dist="53882" dir="13500000">
              <a:schemeClr val="accent1">
                <a:gamma/>
                <a:shade val="60000"/>
                <a:invGamma/>
                <a:alpha val="50000"/>
              </a:schemeClr>
            </a:prstShdw>
          </a:effectLst>
        </p:spPr>
      </p:pic>
      <p:pic>
        <p:nvPicPr>
          <p:cNvPr id="31751" name="Picture 7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702551" y="1784351"/>
            <a:ext cx="2384425" cy="1412875"/>
          </a:xfrm>
          <a:prstGeom prst="rect">
            <a:avLst/>
          </a:prstGeom>
          <a:noFill/>
          <a:ln>
            <a:noFill/>
          </a:ln>
          <a:effectLst>
            <a:prstShdw prst="shdw13" dist="53882" dir="13500000">
              <a:schemeClr val="accent1">
                <a:gamma/>
                <a:shade val="60000"/>
                <a:invGamma/>
                <a:alpha val="50000"/>
              </a:schemeClr>
            </a:prstShdw>
          </a:effectLst>
        </p:spPr>
      </p:pic>
      <p:pic>
        <p:nvPicPr>
          <p:cNvPr id="31752" name="Picture 8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681914" y="4826000"/>
            <a:ext cx="2433637" cy="1460500"/>
          </a:xfrm>
          <a:prstGeom prst="rect">
            <a:avLst/>
          </a:prstGeom>
          <a:noFill/>
          <a:ln>
            <a:noFill/>
          </a:ln>
          <a:effectLst>
            <a:prstShdw prst="shdw13" dist="53882" dir="13500000">
              <a:schemeClr val="accent1">
                <a:gamma/>
                <a:shade val="60000"/>
                <a:invGamma/>
                <a:alpha val="50000"/>
              </a:schemeClr>
            </a:prstShdw>
          </a:effectLst>
        </p:spPr>
      </p:pic>
      <p:cxnSp>
        <p:nvCxnSpPr>
          <p:cNvPr id="3" name="2 Conector recto"/>
          <p:cNvCxnSpPr/>
          <p:nvPr/>
        </p:nvCxnSpPr>
        <p:spPr>
          <a:xfrm>
            <a:off x="7096125" y="742950"/>
            <a:ext cx="58578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11 Conector recto"/>
          <p:cNvCxnSpPr/>
          <p:nvPr/>
        </p:nvCxnSpPr>
        <p:spPr>
          <a:xfrm>
            <a:off x="7096125" y="5565775"/>
            <a:ext cx="58578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5 Conector recto de flecha"/>
          <p:cNvCxnSpPr/>
          <p:nvPr/>
        </p:nvCxnSpPr>
        <p:spPr>
          <a:xfrm flipH="1">
            <a:off x="7239000" y="742950"/>
            <a:ext cx="14288" cy="4813300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1 CuadroTexto"/>
          <p:cNvSpPr txBox="1">
            <a:spLocks noChangeArrowheads="1"/>
          </p:cNvSpPr>
          <p:nvPr/>
        </p:nvSpPr>
        <p:spPr bwMode="auto">
          <a:xfrm>
            <a:off x="5997575" y="5094288"/>
            <a:ext cx="1127232" cy="424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s-CL">
                <a:solidFill>
                  <a:srgbClr val="FF0000"/>
                </a:solidFill>
              </a:rPr>
              <a:t>1 Ciclo</a:t>
            </a:r>
          </a:p>
        </p:txBody>
      </p:sp>
    </p:spTree>
    <p:extLst>
      <p:ext uri="{BB962C8B-B14F-4D97-AF65-F5344CB8AC3E}">
        <p14:creationId xmlns:p14="http://schemas.microsoft.com/office/powerpoint/2010/main" val="1179495514"/>
      </p:ext>
    </p:extLst>
  </p:cSld>
  <p:clrMapOvr>
    <a:masterClrMapping/>
  </p:clrMapOvr>
  <p:transition spd="med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28321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m-%y&lt;/m_strFormatTime&gt;&lt;m_yearfmt&gt;&lt;begin val=&quot;4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B&lt;/m_strFormatTime&gt;&lt;m_yearfmt&gt;&lt;begin val=&quot;0&quot;/&gt;&lt;end val=&quot;4&quot;/&gt;&lt;/m_yearfmt&gt;&lt;/m_precDefaultMonth&gt;&lt;m_precDefaultWeek&gt;&lt;m_bNumberIsYear val=&quot;0&quot;/&gt;&lt;m_strFormatTime&gt;%d.%m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HWYKumfESR6aIl8XXFC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f7S2kAe0uDqigNiOSF5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0LZHZBFEucqszkuH72D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CNen80xEKt.Zr9OKEU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f7S2kAe0uDqigNiOSF5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0LZHZBFEucqszkuH72D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HWYKumfESR6aIl8XXFC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f7S2kAe0uDqigNiOSF5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0LZHZBFEucqszkuH72D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CNen80xEKt.Zr9OKEUt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HWYKumfESR6aIl8XXF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f7S2kAe0uDqigNiOSF5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0LZHZBFEucqszkuH72D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CNen80xEKt.Zr9OKEUt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f7S2kAe0uDqigNiOSF5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f7S2kAe0uDqigNiOSF5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f7S2kAe0uDqigNiOSF5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f7S2kAe0uDqigNiOSF5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f7S2kAe0uDqigNiOSF5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0LZHZBFEucqszkuH72D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CNen80xEKt.Zr9OKEUt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CNen80xEKt.Zr9OKEUt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1_BasicWhite">
  <a:themeElements>
    <a:clrScheme name="Achs3 1">
      <a:dk1>
        <a:srgbClr val="0C662F"/>
      </a:dk1>
      <a:lt1>
        <a:srgbClr val="FFFFFF"/>
      </a:lt1>
      <a:dk2>
        <a:srgbClr val="616161"/>
      </a:dk2>
      <a:lt2>
        <a:srgbClr val="83B727"/>
      </a:lt2>
      <a:accent1>
        <a:srgbClr val="00857D"/>
      </a:accent1>
      <a:accent2>
        <a:srgbClr val="F2E500"/>
      </a:accent2>
      <a:accent3>
        <a:srgbClr val="8A8A8A"/>
      </a:accent3>
      <a:accent4>
        <a:srgbClr val="6BBBAE"/>
      </a:accent4>
      <a:accent5>
        <a:srgbClr val="ECC3B2"/>
      </a:accent5>
      <a:accent6>
        <a:srgbClr val="890C58"/>
      </a:accent6>
      <a:hlink>
        <a:srgbClr val="83BD00"/>
      </a:hlink>
      <a:folHlink>
        <a:srgbClr val="004F5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2438338" rtl="0" fontAlgn="auto" latinLnBrk="0" hangingPunct="0">
          <a:lnSpc>
            <a:spcPct val="90000"/>
          </a:lnSpc>
          <a:spcBef>
            <a:spcPts val="4500"/>
          </a:spcBef>
          <a:spcAft>
            <a:spcPts val="0"/>
          </a:spcAft>
          <a:buClrTx/>
          <a:buSzTx/>
          <a:buFontTx/>
          <a:buNone/>
          <a:tabLst/>
          <a:defRPr kumimoji="0" sz="4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Achs_template_2020" id="{51F7E6E5-7C30-EC4A-8159-8FB9119F0B22}" vid="{A31DE21C-DB4F-DE4C-A8A1-ECD911F8D2DB}"/>
    </a:ext>
  </a:extLst>
</a:theme>
</file>

<file path=ppt/theme/theme2.xml><?xml version="1.0" encoding="utf-8"?>
<a:theme xmlns:a="http://schemas.openxmlformats.org/drawingml/2006/main" name="21_BasicWhite">
  <a:themeElements>
    <a:clrScheme name="21_Basic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1_BasicWhite">
      <a:majorFont>
        <a:latin typeface="Helvetica Neue"/>
        <a:ea typeface="Helvetica Neue"/>
        <a:cs typeface="Helvetica Neue"/>
      </a:majorFont>
      <a:minorFont>
        <a:latin typeface="Helvetica Neue"/>
        <a:ea typeface="Helvetica Neue"/>
        <a:cs typeface="Helvetica Neue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2438338" rtl="0" fontAlgn="auto" latinLnBrk="0" hangingPunct="0">
          <a:lnSpc>
            <a:spcPct val="90000"/>
          </a:lnSpc>
          <a:spcBef>
            <a:spcPts val="4500"/>
          </a:spcBef>
          <a:spcAft>
            <a:spcPts val="0"/>
          </a:spcAft>
          <a:buClrTx/>
          <a:buSzTx/>
          <a:buFontTx/>
          <a:buNone/>
          <a:tabLst/>
          <a:defRPr kumimoji="0" sz="4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43386C30C2BF64386DB463E8F4594B2" ma:contentTypeVersion="11" ma:contentTypeDescription="Create a new document." ma:contentTypeScope="" ma:versionID="6d23ca3f4ccfd6a3ba006b6e7368307d">
  <xsd:schema xmlns:xsd="http://www.w3.org/2001/XMLSchema" xmlns:xs="http://www.w3.org/2001/XMLSchema" xmlns:p="http://schemas.microsoft.com/office/2006/metadata/properties" xmlns:ns3="4cd4965c-111d-4934-bfaf-cc422d55466d" xmlns:ns4="c3f0370a-6320-4012-9aba-2eb249a02e60" targetNamespace="http://schemas.microsoft.com/office/2006/metadata/properties" ma:root="true" ma:fieldsID="aaf5583f699a8698299a69699e299def" ns3:_="" ns4:_="">
    <xsd:import namespace="4cd4965c-111d-4934-bfaf-cc422d55466d"/>
    <xsd:import namespace="c3f0370a-6320-4012-9aba-2eb249a02e60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Location" minOccurs="0"/>
                <xsd:element ref="ns4:MediaServiceGenerationTime" minOccurs="0"/>
                <xsd:element ref="ns4:MediaServiceEventHashCode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d4965c-111d-4934-bfaf-cc422d55466d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3f0370a-6320-4012-9aba-2eb249a02e6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E85A58B-7169-4658-BF0D-6509EAB800FE}">
  <ds:schemaRefs>
    <ds:schemaRef ds:uri="http://schemas.microsoft.com/office/2006/metadata/properties"/>
    <ds:schemaRef ds:uri="4cd4965c-111d-4934-bfaf-cc422d55466d"/>
    <ds:schemaRef ds:uri="http://schemas.microsoft.com/office/2006/documentManagement/types"/>
    <ds:schemaRef ds:uri="http://purl.org/dc/terms/"/>
    <ds:schemaRef ds:uri="http://purl.org/dc/elements/1.1/"/>
    <ds:schemaRef ds:uri="http://purl.org/dc/dcmitype/"/>
    <ds:schemaRef ds:uri="http://www.w3.org/XML/1998/namespace"/>
    <ds:schemaRef ds:uri="c3f0370a-6320-4012-9aba-2eb249a02e60"/>
    <ds:schemaRef ds:uri="http://schemas.microsoft.com/office/infopath/2007/PartnerControls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67BFAB34-9339-47C7-984F-C27D3D7CBD8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cd4965c-111d-4934-bfaf-cc422d55466d"/>
    <ds:schemaRef ds:uri="c3f0370a-6320-4012-9aba-2eb249a02e6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5C1C608-9CAC-4853-8C83-4C1910FC604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1_BasicWhite</Template>
  <TotalTime>22498</TotalTime>
  <Words>1563</Words>
  <Application>Microsoft Office PowerPoint</Application>
  <PresentationFormat>Panorámica</PresentationFormat>
  <Paragraphs>226</Paragraphs>
  <Slides>27</Slides>
  <Notes>20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7</vt:i4>
      </vt:variant>
    </vt:vector>
  </HeadingPairs>
  <TitlesOfParts>
    <vt:vector size="34" baseType="lpstr">
      <vt:lpstr>.Lucida Grande UI Regular</vt:lpstr>
      <vt:lpstr>Arial</vt:lpstr>
      <vt:lpstr>Calibri</vt:lpstr>
      <vt:lpstr>Helvetica Neue Medium</vt:lpstr>
      <vt:lpstr>Wingdings</vt:lpstr>
      <vt:lpstr>21_BasicWhite</vt:lpstr>
      <vt:lpstr>Diapositiva de think-cell</vt:lpstr>
      <vt:lpstr>Presentación de PowerPoint</vt:lpstr>
      <vt:lpstr>Contenidos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Jo Quezada</dc:creator>
  <cp:lastModifiedBy>Pinto Retamal, Rodrigo Enrique</cp:lastModifiedBy>
  <cp:revision>192</cp:revision>
  <dcterms:created xsi:type="dcterms:W3CDTF">2020-05-27T23:52:59Z</dcterms:created>
  <dcterms:modified xsi:type="dcterms:W3CDTF">2022-05-23T13:58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43386C30C2BF64386DB463E8F4594B2</vt:lpwstr>
  </property>
</Properties>
</file>